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wdp" ContentType="image/vnd.ms-photo"/>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media/image2.svg" ContentType="image/svg+xml"/>
  <Override PartName="/ppt/media/image6.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
  </p:notesMasterIdLst>
  <p:sldIdLst>
    <p:sldId id="318" r:id="rId3"/>
    <p:sldId id="365" r:id="rId4"/>
    <p:sldId id="258" r:id="rId6"/>
    <p:sldId id="367" r:id="rId7"/>
    <p:sldId id="369" r:id="rId8"/>
    <p:sldId id="371" r:id="rId9"/>
    <p:sldId id="374" r:id="rId10"/>
    <p:sldId id="393" r:id="rId11"/>
    <p:sldId id="376" r:id="rId12"/>
    <p:sldId id="265" r:id="rId13"/>
    <p:sldId id="267" r:id="rId14"/>
    <p:sldId id="380" r:id="rId15"/>
    <p:sldId id="383" r:id="rId16"/>
    <p:sldId id="385" r:id="rId17"/>
    <p:sldId id="387" r:id="rId18"/>
    <p:sldId id="389" r:id="rId19"/>
    <p:sldId id="394" r:id="rId20"/>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16" userDrawn="1">
          <p15:clr>
            <a:srgbClr val="A4A3A4"/>
          </p15:clr>
        </p15:guide>
        <p15:guide id="2" pos="7256" userDrawn="1">
          <p15:clr>
            <a:srgbClr val="A4A3A4"/>
          </p15:clr>
        </p15:guide>
        <p15:guide id="3" orient="horz" pos="648" userDrawn="1">
          <p15:clr>
            <a:srgbClr val="A4A3A4"/>
          </p15:clr>
        </p15:guide>
        <p15:guide id="4" orient="horz" pos="712" userDrawn="1">
          <p15:clr>
            <a:srgbClr val="A4A3A4"/>
          </p15:clr>
        </p15:guide>
        <p15:guide id="5" orient="horz" pos="3928" userDrawn="1">
          <p15:clr>
            <a:srgbClr val="A4A3A4"/>
          </p15:clr>
        </p15:guide>
        <p15:guide id="6" orient="horz" pos="38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7" autoAdjust="0"/>
    <p:restoredTop sz="86483" autoAdjust="0"/>
  </p:normalViewPr>
  <p:slideViewPr>
    <p:cSldViewPr snapToGrid="0" showGuides="1">
      <p:cViewPr>
        <p:scale>
          <a:sx n="66" d="100"/>
          <a:sy n="66" d="100"/>
        </p:scale>
        <p:origin x="822" y="1080"/>
      </p:cViewPr>
      <p:guideLst>
        <p:guide pos="416"/>
        <p:guide pos="7256"/>
        <p:guide orient="horz" pos="648"/>
        <p:guide orient="horz" pos="712"/>
        <p:guide orient="horz" pos="3928"/>
        <p:guide orient="horz" pos="3849"/>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 Type="http://schemas.openxmlformats.org/officeDocument/2006/relationships/slide" Target="slides/slide1.xml"/><Relationship Id="rId24" Type="http://schemas.openxmlformats.org/officeDocument/2006/relationships/tags" Target="tags/tag189.xml"/><Relationship Id="rId23" Type="http://schemas.openxmlformats.org/officeDocument/2006/relationships/tableStyles" Target="tableStyles.xml"/><Relationship Id="rId22" Type="http://schemas.openxmlformats.org/officeDocument/2006/relationships/viewProps" Target="viewProps.xml"/><Relationship Id="rId21" Type="http://schemas.openxmlformats.org/officeDocument/2006/relationships/presProps" Target="presProps.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C4623A-BF4B-49D0-9AE7-51EDFEFBD130}"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2ADB99-A9E8-4987-867F-C1F5F3338961}"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4d1bbf08-958b-4da0-8297-975d2ef7f61d.source.4.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Title Slide">
    <p:bg>
      <p:bgRef idx="1001">
        <a:schemeClr val="bg1"/>
      </p:bgRef>
    </p:bg>
    <p:spTree>
      <p:nvGrpSpPr>
        <p:cNvPr id="1" name=""/>
        <p:cNvGrpSpPr/>
        <p:nvPr/>
      </p:nvGrpSpPr>
      <p:grpSpPr>
        <a:xfrm>
          <a:off x="0" y="0"/>
          <a:ext cx="0" cy="0"/>
          <a:chOff x="0" y="0"/>
          <a:chExt cx="0" cy="0"/>
        </a:xfrm>
      </p:grpSpPr>
      <p:sp>
        <p:nvSpPr>
          <p:cNvPr id="5" name="4f710e7d-03a3-4c83-b63a-e08e247ed67d"/>
          <p:cNvSpPr>
            <a:spLocks noGrp="1"/>
          </p:cNvSpPr>
          <p:nvPr>
            <p:ph type="ctrTitle" hasCustomPrompt="1"/>
          </p:nvPr>
        </p:nvSpPr>
        <p:spPr>
          <a:xfrm>
            <a:off x="660400" y="1306941"/>
            <a:ext cx="6172990" cy="2557219"/>
          </a:xfrm>
          <a:prstGeom prst="rect">
            <a:avLst/>
          </a:prstGeom>
        </p:spPr>
        <p:txBody>
          <a:bodyPr wrap="square" anchor="b">
            <a:normAutofit/>
          </a:bodyPr>
          <a:lstStyle>
            <a:lvl1pPr algn="l">
              <a:lnSpc>
                <a:spcPct val="100000"/>
              </a:lnSpc>
              <a:defRPr sz="6600">
                <a:ln w="19050">
                  <a:noFill/>
                </a:ln>
                <a:solidFill>
                  <a:schemeClr val="tx1"/>
                </a:solidFill>
              </a:defRPr>
            </a:lvl1pPr>
          </a:lstStyle>
          <a:p>
            <a:pPr lvl="0"/>
            <a:r>
              <a:rPr lang="en-US" dirty="0"/>
              <a:t>Click to add title</a:t>
            </a:r>
            <a:endParaRPr lang="en-US" dirty="0"/>
          </a:p>
        </p:txBody>
      </p:sp>
      <p:sp>
        <p:nvSpPr>
          <p:cNvPr id="9" name="副标题 8"/>
          <p:cNvSpPr>
            <a:spLocks noGrp="1"/>
          </p:cNvSpPr>
          <p:nvPr>
            <p:ph type="subTitle" sz="quarter" idx="1" hasCustomPrompt="1"/>
          </p:nvPr>
        </p:nvSpPr>
        <p:spPr>
          <a:xfrm>
            <a:off x="660400" y="4046019"/>
            <a:ext cx="6229097" cy="975672"/>
          </a:xfrm>
          <a:prstGeom prst="roundRect">
            <a:avLst>
              <a:gd name="adj" fmla="val 0"/>
            </a:avLst>
          </a:prstGeom>
          <a:noFill/>
          <a:ln w="12700">
            <a:noFill/>
          </a:ln>
        </p:spPr>
        <p:txBody>
          <a:bodyPr vert="horz" wrap="square" lIns="91440" tIns="45720" rIns="91440" bIns="45720" rtlCol="0" anchor="t" anchorCtr="0">
            <a:normAutofit/>
          </a:bodyPr>
          <a:lstStyle>
            <a:lvl1pPr marL="0" indent="0" algn="l">
              <a:lnSpc>
                <a:spcPct val="100000"/>
              </a:lnSpc>
              <a:buNone/>
              <a:defRPr lang="en-US" sz="2400" b="0" dirty="0">
                <a:solidFill>
                  <a:srgbClr val="FFFFFF"/>
                </a:solidFill>
                <a:latin typeface="+mj-lt"/>
              </a:defRPr>
            </a:lvl1pPr>
          </a:lstStyle>
          <a:p>
            <a:pPr lvl="0"/>
            <a:r>
              <a:rPr lang="en-US" dirty="0"/>
              <a:t>Click to add subtitle</a:t>
            </a:r>
            <a:endParaRPr lang="en-US" dirty="0"/>
          </a:p>
        </p:txBody>
      </p:sp>
      <p:sp>
        <p:nvSpPr>
          <p:cNvPr id="4" name="文本占位符 3"/>
          <p:cNvSpPr>
            <a:spLocks noGrp="1"/>
          </p:cNvSpPr>
          <p:nvPr>
            <p:ph type="body" sz="quarter" idx="13" hasCustomPrompt="1"/>
          </p:nvPr>
        </p:nvSpPr>
        <p:spPr>
          <a:xfrm>
            <a:off x="673100" y="5742602"/>
            <a:ext cx="6216397" cy="276999"/>
          </a:xfrm>
          <a:prstGeom prst="rect">
            <a:avLst/>
          </a:prstGeom>
        </p:spPr>
        <p:txBody>
          <a:bodyPr wrap="square" lIns="90000">
            <a:normAutofit/>
          </a:bodyPr>
          <a:lstStyle>
            <a:lvl1pPr marL="0" indent="0" algn="l">
              <a:lnSpc>
                <a:spcPct val="100000"/>
              </a:lnSpc>
              <a:buNone/>
              <a:defRPr sz="1200">
                <a:solidFill>
                  <a:schemeClr val="tx1"/>
                </a:solidFill>
              </a:defRPr>
            </a:lvl1pPr>
          </a:lstStyle>
          <a:p>
            <a:pPr lvl="0"/>
            <a:r>
              <a:rPr lang="en-US" dirty="0"/>
              <a:t>Presenter name</a:t>
            </a:r>
            <a:endParaRPr lang="en-US" dirty="0"/>
          </a:p>
        </p:txBody>
      </p:sp>
      <p:sp>
        <p:nvSpPr>
          <p:cNvPr id="7" name="文本占位符 6"/>
          <p:cNvSpPr>
            <a:spLocks noGrp="1"/>
          </p:cNvSpPr>
          <p:nvPr>
            <p:ph type="body" sz="quarter" idx="14" hasCustomPrompt="1"/>
          </p:nvPr>
        </p:nvSpPr>
        <p:spPr>
          <a:xfrm>
            <a:off x="673100" y="5423471"/>
            <a:ext cx="6216397" cy="276999"/>
          </a:xfrm>
          <a:prstGeom prst="rect">
            <a:avLst/>
          </a:prstGeom>
        </p:spPr>
        <p:txBody>
          <a:bodyPr wrap="none">
            <a:normAutofit/>
          </a:bodyPr>
          <a:lstStyle>
            <a:lvl1pPr marL="0" indent="0" algn="l">
              <a:lnSpc>
                <a:spcPct val="100000"/>
              </a:lnSpc>
              <a:buNone/>
              <a:defRPr sz="1200">
                <a:solidFill>
                  <a:schemeClr val="tx1"/>
                </a:solidFill>
              </a:defRPr>
            </a:lvl1pPr>
          </a:lstStyle>
          <a:p>
            <a:pPr lvl="0"/>
            <a:r>
              <a:rPr lang="en-US" altLang="zh-CN" dirty="0"/>
              <a:t>https://bit.edu.cn/</a:t>
            </a:r>
            <a:endParaRPr lang="en-US" altLang="zh-CN" dirty="0"/>
          </a:p>
        </p:txBody>
      </p:sp>
    </p:spTree>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pPr lvl="0"/>
            <a:r>
              <a:rPr lang="en-US"/>
              <a:t>Click to add title</a:t>
            </a:r>
            <a:endParaRPr lang="en-US"/>
          </a:p>
        </p:txBody>
      </p:sp>
      <p:sp>
        <p:nvSpPr>
          <p:cNvPr id="3" name="Content Placeholder 2"/>
          <p:cNvSpPr>
            <a:spLocks noGrp="1"/>
          </p:cNvSpPr>
          <p:nvPr>
            <p:ph idx="1" hasCustomPrompt="1"/>
          </p:nvPr>
        </p:nvSpPr>
        <p:spPr/>
        <p:txBody>
          <a:bodyPr/>
          <a:lstStyle>
            <a:lvl1pPr>
              <a:defRPr/>
            </a:lvl1pPr>
          </a:lstStyle>
          <a:p>
            <a:pPr lvl="0"/>
            <a:r>
              <a:rPr lang="en-US"/>
              <a:t>Click to add text</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8BB1146-E542-4D4E-B8E9-6919A11DDD48}" type="slidenum">
              <a:rPr lang="en-US" smtClean="0"/>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matchingName="Agenda">
  <p:cSld name="Agenda">
    <p:spTree>
      <p:nvGrpSpPr>
        <p:cNvPr id="1" name=""/>
        <p:cNvGrpSpPr/>
        <p:nvPr/>
      </p:nvGrpSpPr>
      <p:grpSpPr>
        <a:xfrm>
          <a:off x="0" y="0"/>
          <a:ext cx="0" cy="0"/>
          <a:chOff x="0" y="0"/>
          <a:chExt cx="0" cy="0"/>
        </a:xfrm>
      </p:grpSpPr>
      <p:sp>
        <p:nvSpPr>
          <p:cNvPr id="17" name="任意多边形: 形状 16"/>
          <p:cNvSpPr/>
          <p:nvPr/>
        </p:nvSpPr>
        <p:spPr>
          <a:xfrm>
            <a:off x="0" y="6409690"/>
            <a:ext cx="8640346" cy="448310"/>
          </a:xfrm>
          <a:custGeom>
            <a:avLst/>
            <a:gdLst>
              <a:gd name="connsiteX0" fmla="*/ 0 w 8640346"/>
              <a:gd name="connsiteY0" fmla="*/ 0 h 448310"/>
              <a:gd name="connsiteX1" fmla="*/ 8640346 w 8640346"/>
              <a:gd name="connsiteY1" fmla="*/ 0 h 448310"/>
              <a:gd name="connsiteX2" fmla="*/ 8451432 w 8640346"/>
              <a:gd name="connsiteY2" fmla="*/ 448310 h 448310"/>
              <a:gd name="connsiteX3" fmla="*/ 0 w 8640346"/>
              <a:gd name="connsiteY3" fmla="*/ 448310 h 448310"/>
            </a:gdLst>
            <a:ahLst/>
            <a:cxnLst>
              <a:cxn ang="0">
                <a:pos x="connsiteX0" y="connsiteY0"/>
              </a:cxn>
              <a:cxn ang="0">
                <a:pos x="connsiteX1" y="connsiteY1"/>
              </a:cxn>
              <a:cxn ang="0">
                <a:pos x="connsiteX2" y="connsiteY2"/>
              </a:cxn>
              <a:cxn ang="0">
                <a:pos x="connsiteX3" y="connsiteY3"/>
              </a:cxn>
            </a:cxnLst>
            <a:rect l="l" t="t" r="r" b="b"/>
            <a:pathLst>
              <a:path w="8640346" h="448310">
                <a:moveTo>
                  <a:pt x="0" y="0"/>
                </a:moveTo>
                <a:lnTo>
                  <a:pt x="8640346" y="0"/>
                </a:lnTo>
                <a:lnTo>
                  <a:pt x="8451432" y="448310"/>
                </a:lnTo>
                <a:lnTo>
                  <a:pt x="0" y="448310"/>
                </a:lnTo>
                <a:close/>
              </a:path>
            </a:pathLst>
          </a:custGeom>
          <a:gradFill>
            <a:gsLst>
              <a:gs pos="0">
                <a:srgbClr val="F84D4D">
                  <a:alpha val="50000"/>
                </a:srgbClr>
              </a:gs>
              <a:gs pos="100000">
                <a:schemeClr val="accent1"/>
              </a:gs>
            </a:gsLst>
            <a:lin ang="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lvl="0" algn="ctr"/>
            <a:endParaRPr lang="zh-CN" altLang="en-US"/>
          </a:p>
        </p:txBody>
      </p:sp>
      <p:sp>
        <p:nvSpPr>
          <p:cNvPr id="18" name="任意多边形: 形状 17"/>
          <p:cNvSpPr/>
          <p:nvPr/>
        </p:nvSpPr>
        <p:spPr>
          <a:xfrm>
            <a:off x="8676104" y="6409690"/>
            <a:ext cx="3515896" cy="448310"/>
          </a:xfrm>
          <a:custGeom>
            <a:avLst/>
            <a:gdLst>
              <a:gd name="connsiteX0" fmla="*/ 188914 w 3515896"/>
              <a:gd name="connsiteY0" fmla="*/ 0 h 448310"/>
              <a:gd name="connsiteX1" fmla="*/ 3515896 w 3515896"/>
              <a:gd name="connsiteY1" fmla="*/ 0 h 448310"/>
              <a:gd name="connsiteX2" fmla="*/ 3515896 w 3515896"/>
              <a:gd name="connsiteY2" fmla="*/ 448310 h 448310"/>
              <a:gd name="connsiteX3" fmla="*/ 0 w 3515896"/>
              <a:gd name="connsiteY3" fmla="*/ 448310 h 448310"/>
            </a:gdLst>
            <a:ahLst/>
            <a:cxnLst>
              <a:cxn ang="0">
                <a:pos x="connsiteX0" y="connsiteY0"/>
              </a:cxn>
              <a:cxn ang="0">
                <a:pos x="connsiteX1" y="connsiteY1"/>
              </a:cxn>
              <a:cxn ang="0">
                <a:pos x="connsiteX2" y="connsiteY2"/>
              </a:cxn>
              <a:cxn ang="0">
                <a:pos x="connsiteX3" y="connsiteY3"/>
              </a:cxn>
            </a:cxnLst>
            <a:rect l="l" t="t" r="r" b="b"/>
            <a:pathLst>
              <a:path w="3515896" h="448310">
                <a:moveTo>
                  <a:pt x="188914" y="0"/>
                </a:moveTo>
                <a:lnTo>
                  <a:pt x="3515896" y="0"/>
                </a:lnTo>
                <a:lnTo>
                  <a:pt x="3515896" y="448310"/>
                </a:lnTo>
                <a:lnTo>
                  <a:pt x="0" y="448310"/>
                </a:lnTo>
                <a:close/>
              </a:path>
            </a:pathLst>
          </a:custGeom>
          <a:gradFill>
            <a:gsLst>
              <a:gs pos="0">
                <a:srgbClr val="F84D4D">
                  <a:alpha val="50000"/>
                </a:srgbClr>
              </a:gs>
              <a:gs pos="100000">
                <a:schemeClr val="accent1"/>
              </a:gs>
            </a:gsLst>
            <a:lin ang="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lang="zh-CN" altLang="en-US"/>
          </a:p>
        </p:txBody>
      </p:sp>
      <p:sp>
        <p:nvSpPr>
          <p:cNvPr id="2" name="69f60f0d-9629-4a9c-afc7-9bce64cc50c2"/>
          <p:cNvSpPr>
            <a:spLocks noGrp="1"/>
          </p:cNvSpPr>
          <p:nvPr>
            <p:ph type="title" hasCustomPrompt="1"/>
          </p:nvPr>
        </p:nvSpPr>
        <p:spPr>
          <a:xfrm>
            <a:off x="660400" y="1500189"/>
            <a:ext cx="2061861" cy="864515"/>
          </a:xfrm>
          <a:prstGeom prst="rect">
            <a:avLst/>
          </a:prstGeom>
          <a:noFill/>
        </p:spPr>
        <p:txBody>
          <a:bodyPr anchor="t" anchorCtr="0">
            <a:normAutofit/>
          </a:bodyPr>
          <a:lstStyle>
            <a:lvl1pPr algn="r">
              <a:defRPr sz="2800">
                <a:solidFill>
                  <a:schemeClr val="tx1"/>
                </a:solidFill>
              </a:defRPr>
            </a:lvl1pPr>
          </a:lstStyle>
          <a:p>
            <a:pPr lvl="0"/>
            <a:r>
              <a:rPr lang="en-US" dirty="0"/>
              <a:t>Agenda</a:t>
            </a:r>
            <a:endParaRPr lang="en-US" dirty="0"/>
          </a:p>
        </p:txBody>
      </p:sp>
      <p:sp>
        <p:nvSpPr>
          <p:cNvPr id="3" name="内容占位符 2"/>
          <p:cNvSpPr>
            <a:spLocks noGrp="1"/>
          </p:cNvSpPr>
          <p:nvPr>
            <p:ph sz="quarter" idx="1" hasCustomPrompt="1"/>
          </p:nvPr>
        </p:nvSpPr>
        <p:spPr>
          <a:xfrm>
            <a:off x="2970377" y="1500189"/>
            <a:ext cx="8548519" cy="4278311"/>
          </a:xfrm>
        </p:spPr>
        <p:txBody>
          <a:bodyPr numCol="1"/>
          <a:lstStyle>
            <a:lvl1pPr marL="342900" indent="-342900">
              <a:lnSpc>
                <a:spcPct val="100000"/>
              </a:lnSpc>
              <a:buFont typeface="+mj-lt"/>
              <a:buAutoNum type="arabicPeriod"/>
              <a:defRPr/>
            </a:lvl1pPr>
            <a:lvl2pPr marL="800100" indent="-342900">
              <a:lnSpc>
                <a:spcPct val="100000"/>
              </a:lnSpc>
              <a:buFont typeface="+mj-ea"/>
              <a:buAutoNum type="circleNumDbPlain"/>
              <a:defRPr/>
            </a:lvl2pPr>
            <a:lvl3pPr marL="1257300" indent="-342900">
              <a:lnSpc>
                <a:spcPct val="100000"/>
              </a:lnSpc>
              <a:buFont typeface="+mj-lt"/>
              <a:buAutoNum type="alphaLcParenR"/>
              <a:defRPr/>
            </a:lvl3pPr>
            <a:lvl4pPr>
              <a:lnSpc>
                <a:spcPct val="100000"/>
              </a:lnSpc>
              <a:defRPr/>
            </a:lvl4pPr>
            <a:lvl5pPr>
              <a:lnSpc>
                <a:spcPct val="100000"/>
              </a:lnSpc>
              <a:defRPr/>
            </a:lvl5pPr>
          </a:lstStyle>
          <a:p>
            <a:pPr lvl="0"/>
            <a:r>
              <a:rPr lang="en-US" dirty="0"/>
              <a:t>Click to add tex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日期占位符 3"/>
          <p:cNvSpPr>
            <a:spLocks noGrp="1"/>
          </p:cNvSpPr>
          <p:nvPr>
            <p:ph type="dt" sz="half" idx="10"/>
          </p:nvPr>
        </p:nvSpPr>
        <p:spPr/>
        <p:txBody>
          <a:bodyPr/>
          <a:lstStyle>
            <a:lvl1pPr>
              <a:defRPr>
                <a:solidFill>
                  <a:schemeClr val="bg1"/>
                </a:solidFill>
              </a:defRPr>
            </a:lvl1pPr>
          </a:lstStyle>
          <a:p>
            <a:endParaRPr lang="en-US" dirty="0"/>
          </a:p>
        </p:txBody>
      </p:sp>
      <p:sp>
        <p:nvSpPr>
          <p:cNvPr id="5" name="页脚占位符 4"/>
          <p:cNvSpPr>
            <a:spLocks noGrp="1"/>
          </p:cNvSpPr>
          <p:nvPr>
            <p:ph type="ftr" sz="quarter" idx="11"/>
          </p:nvPr>
        </p:nvSpPr>
        <p:spPr/>
        <p:txBody>
          <a:bodyPr/>
          <a:lstStyle>
            <a:lvl1pPr>
              <a:defRPr>
                <a:solidFill>
                  <a:schemeClr val="bg1"/>
                </a:solidFill>
              </a:defRPr>
            </a:lvl1pPr>
          </a:lstStyle>
          <a:p>
            <a:endParaRPr lang="en-US" dirty="0"/>
          </a:p>
        </p:txBody>
      </p:sp>
      <p:sp>
        <p:nvSpPr>
          <p:cNvPr id="6" name="灯片编号占位符 5"/>
          <p:cNvSpPr>
            <a:spLocks noGrp="1"/>
          </p:cNvSpPr>
          <p:nvPr>
            <p:ph type="sldNum" sz="quarter" idx="12"/>
          </p:nvPr>
        </p:nvSpPr>
        <p:spPr/>
        <p:txBody>
          <a:bodyPr/>
          <a:lstStyle>
            <a:lvl1pPr>
              <a:defRPr>
                <a:solidFill>
                  <a:schemeClr val="bg1"/>
                </a:solidFill>
              </a:defRPr>
            </a:lvl1pPr>
          </a:lstStyle>
          <a:p>
            <a:fld id="{C8BB1146-E542-4D4E-B8E9-6919A11DDD48}" type="slidenum">
              <a:rPr lang="en-US" smtClean="0"/>
            </a:fld>
            <a:endParaRPr lang="en-US" dirty="0"/>
          </a:p>
        </p:txBody>
      </p:sp>
      <p:cxnSp>
        <p:nvCxnSpPr>
          <p:cNvPr id="10" name="直接连接符 9"/>
          <p:cNvCxnSpPr/>
          <p:nvPr/>
        </p:nvCxnSpPr>
        <p:spPr>
          <a:xfrm>
            <a:off x="2846319" y="1500188"/>
            <a:ext cx="0" cy="4278312"/>
          </a:xfrm>
          <a:prstGeom prst="line">
            <a:avLst/>
          </a:prstGeom>
          <a:solidFill>
            <a:srgbClr val="FFCC00"/>
          </a:solidFill>
          <a:ln w="3175" cap="flat" cmpd="sng" algn="ctr">
            <a:solidFill>
              <a:schemeClr val="tx2">
                <a:alpha val="50000"/>
              </a:schemeClr>
            </a:solidFill>
            <a:prstDash val="solid"/>
            <a:round/>
            <a:headEnd type="none" w="med" len="med"/>
            <a:tailEnd type="none" w="med" len="med"/>
          </a:ln>
          <a:effectLst/>
        </p:spPr>
      </p:cxnSp>
      <p:sp>
        <p:nvSpPr>
          <p:cNvPr id="13" name="任意多边形: 形状 12"/>
          <p:cNvSpPr>
            <a:spLocks noChangeAspect="1"/>
          </p:cNvSpPr>
          <p:nvPr/>
        </p:nvSpPr>
        <p:spPr bwMode="auto">
          <a:xfrm>
            <a:off x="1851756" y="4862833"/>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tx2">
              <a:alpha val="15000"/>
            </a:schemeClr>
          </a:solidFill>
          <a:ln>
            <a:noFill/>
          </a:ln>
        </p:spPr>
        <p:txBody>
          <a:bodyPr/>
          <a:lstStyle/>
          <a:p>
            <a:endParaRPr lang="zh-CN" altLang="en-US">
              <a:cs typeface="+mn-ea"/>
              <a:sym typeface="+mn-lt"/>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showMasterSp="0">
  <p:cSld name="Section Header">
    <p:bg>
      <p:bgRef idx="1001">
        <a:schemeClr val="bg1"/>
      </p:bgRef>
    </p:bg>
    <p:spTree>
      <p:nvGrpSpPr>
        <p:cNvPr id="1" name=""/>
        <p:cNvGrpSpPr/>
        <p:nvPr/>
      </p:nvGrpSpPr>
      <p:grpSpPr>
        <a:xfrm>
          <a:off x="0" y="0"/>
          <a:ext cx="0" cy="0"/>
          <a:chOff x="0" y="0"/>
          <a:chExt cx="0" cy="0"/>
        </a:xfrm>
      </p:grpSpPr>
      <p:sp>
        <p:nvSpPr>
          <p:cNvPr id="5" name="4f710e7d-03a3-4c83-b63a-e08e247ed67d"/>
          <p:cNvSpPr>
            <a:spLocks noGrp="1"/>
          </p:cNvSpPr>
          <p:nvPr>
            <p:ph type="title" hasCustomPrompt="1"/>
          </p:nvPr>
        </p:nvSpPr>
        <p:spPr>
          <a:xfrm>
            <a:off x="4114800" y="1826194"/>
            <a:ext cx="7404100" cy="1945666"/>
          </a:xfrm>
          <a:prstGeom prst="rect">
            <a:avLst/>
          </a:prstGeom>
        </p:spPr>
        <p:txBody>
          <a:bodyPr>
            <a:normAutofit/>
          </a:bodyPr>
          <a:lstStyle>
            <a:lvl1pPr algn="r">
              <a:lnSpc>
                <a:spcPct val="100000"/>
              </a:lnSpc>
              <a:defRPr sz="4600">
                <a:solidFill>
                  <a:schemeClr val="tx1"/>
                </a:solidFill>
              </a:defRPr>
            </a:lvl1pPr>
          </a:lstStyle>
          <a:p>
            <a:pPr lvl="0"/>
            <a:r>
              <a:rPr lang="en-US" dirty="0"/>
              <a:t>Click to add title</a:t>
            </a:r>
            <a:endParaRPr lang="en-US" dirty="0"/>
          </a:p>
        </p:txBody>
      </p:sp>
      <p:sp>
        <p:nvSpPr>
          <p:cNvPr id="25" name="文本占位符 24"/>
          <p:cNvSpPr>
            <a:spLocks noGrp="1"/>
          </p:cNvSpPr>
          <p:nvPr>
            <p:ph type="body" sz="quarter" idx="1" hasCustomPrompt="1"/>
          </p:nvPr>
        </p:nvSpPr>
        <p:spPr>
          <a:xfrm>
            <a:off x="4114800" y="3783712"/>
            <a:ext cx="7404100" cy="1455016"/>
          </a:xfrm>
          <a:prstGeom prst="rect">
            <a:avLst/>
          </a:prstGeom>
        </p:spPr>
        <p:txBody>
          <a:bodyPr anchor="t">
            <a:normAutofit/>
          </a:bodyPr>
          <a:lstStyle>
            <a:lvl1pPr marL="0" indent="0" algn="r">
              <a:lnSpc>
                <a:spcPct val="120000"/>
              </a:lnSpc>
              <a:buFont typeface="+mj-lt"/>
              <a:buNone/>
              <a:defRPr sz="2000" b="0">
                <a:solidFill>
                  <a:schemeClr val="tx1"/>
                </a:solidFill>
                <a:latin typeface="+mn-lt"/>
              </a:defRPr>
            </a:lvl1pPr>
          </a:lstStyle>
          <a:p>
            <a:pPr lvl="0"/>
            <a:r>
              <a:rPr lang="en-US" dirty="0"/>
              <a:t>Click to add text</a:t>
            </a:r>
            <a:endParaRPr lang="en-US" dirty="0"/>
          </a:p>
        </p:txBody>
      </p:sp>
      <p:sp>
        <p:nvSpPr>
          <p:cNvPr id="4" name="日期占位符 3"/>
          <p:cNvSpPr>
            <a:spLocks noGrp="1"/>
          </p:cNvSpPr>
          <p:nvPr>
            <p:ph type="dt" sz="half" idx="10"/>
          </p:nvPr>
        </p:nvSpPr>
        <p:spPr/>
        <p:txBody>
          <a:bodyPr/>
          <a:lstStyle>
            <a:lvl1pPr>
              <a:defRPr>
                <a:solidFill>
                  <a:schemeClr val="tx1"/>
                </a:solidFill>
              </a:defRPr>
            </a:lvl1pPr>
          </a:lstStyle>
          <a:p>
            <a:fld id="{2A27A813-B2FD-42E1-9222-83B574E99074}" type="datetime1">
              <a:rPr lang="en-US" altLang="zh-CN" smtClean="0"/>
            </a:fld>
            <a:endParaRPr lang="en-US"/>
          </a:p>
        </p:txBody>
      </p:sp>
      <p:sp>
        <p:nvSpPr>
          <p:cNvPr id="6" name="页脚占位符 5"/>
          <p:cNvSpPr>
            <a:spLocks noGrp="1"/>
          </p:cNvSpPr>
          <p:nvPr>
            <p:ph type="ftr" sz="quarter" idx="11"/>
          </p:nvPr>
        </p:nvSpPr>
        <p:spPr/>
        <p:txBody>
          <a:bodyPr/>
          <a:lstStyle>
            <a:lvl1pPr>
              <a:defRPr>
                <a:solidFill>
                  <a:schemeClr val="bg1"/>
                </a:solidFill>
              </a:defRPr>
            </a:lvl1pPr>
          </a:lstStyle>
          <a:p>
            <a:r>
              <a:rPr lang="en-US" altLang="zh-CN"/>
              <a:t>iSlide</a:t>
            </a:r>
            <a:endParaRPr lang="en-US"/>
          </a:p>
        </p:txBody>
      </p:sp>
      <p:sp>
        <p:nvSpPr>
          <p:cNvPr id="8" name="灯片编号占位符 7"/>
          <p:cNvSpPr>
            <a:spLocks noGrp="1"/>
          </p:cNvSpPr>
          <p:nvPr>
            <p:ph type="sldNum" sz="quarter" idx="12"/>
          </p:nvPr>
        </p:nvSpPr>
        <p:spPr/>
        <p:txBody>
          <a:bodyPr/>
          <a:lstStyle>
            <a:lvl1pPr>
              <a:defRPr>
                <a:solidFill>
                  <a:schemeClr val="tx1"/>
                </a:solidFill>
              </a:defRPr>
            </a:lvl1pPr>
          </a:lstStyle>
          <a:p>
            <a:fld id="{7F65B630-C7FF-41C0-9923-C5E5E29EED81}" type="slidenum">
              <a:rPr lang="en-US" altLang="zh-CN" smtClean="0"/>
            </a:fld>
            <a:endParaRPr lang="en-US" altLang="zh-CN"/>
          </a:p>
        </p:txBody>
      </p:sp>
    </p:spTree>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pPr lvl="0"/>
            <a:r>
              <a:rPr lang="en-US"/>
              <a:t>Click to add tit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8BB1146-E542-4D4E-B8E9-6919A11DDD48}" type="slidenum">
              <a:rPr lang="en-US" smtClean="0"/>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showMasterSp="0">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8BB1146-E542-4D4E-B8E9-6919A11DDD48}" type="slidenum">
              <a:rPr lang="en-US" smtClean="0"/>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matchingName="Closing">
  <p:cSld name="Closing">
    <p:bg>
      <p:bgRef idx="1001">
        <a:schemeClr val="bg1"/>
      </p:bgRef>
    </p:bg>
    <p:spTree>
      <p:nvGrpSpPr>
        <p:cNvPr id="1" name=""/>
        <p:cNvGrpSpPr/>
        <p:nvPr/>
      </p:nvGrpSpPr>
      <p:grpSpPr>
        <a:xfrm>
          <a:off x="0" y="0"/>
          <a:ext cx="0" cy="0"/>
          <a:chOff x="0" y="0"/>
          <a:chExt cx="0" cy="0"/>
        </a:xfrm>
      </p:grpSpPr>
      <p:sp>
        <p:nvSpPr>
          <p:cNvPr id="5" name="4f710e7d-03a3-4c83-b63a-e08e247ed67d"/>
          <p:cNvSpPr>
            <a:spLocks noGrp="1"/>
          </p:cNvSpPr>
          <p:nvPr>
            <p:ph type="ctrTitle" hasCustomPrompt="1"/>
          </p:nvPr>
        </p:nvSpPr>
        <p:spPr>
          <a:xfrm>
            <a:off x="660400" y="1130300"/>
            <a:ext cx="6172990" cy="2870200"/>
          </a:xfrm>
          <a:prstGeom prst="rect">
            <a:avLst/>
          </a:prstGeom>
        </p:spPr>
        <p:txBody>
          <a:bodyPr wrap="square" anchor="b">
            <a:noAutofit/>
          </a:bodyPr>
          <a:lstStyle>
            <a:lvl1pPr algn="l">
              <a:lnSpc>
                <a:spcPct val="100000"/>
              </a:lnSpc>
              <a:defRPr sz="6600">
                <a:ln w="19050">
                  <a:noFill/>
                </a:ln>
                <a:solidFill>
                  <a:schemeClr val="tx1"/>
                </a:solidFill>
              </a:defRPr>
            </a:lvl1pPr>
          </a:lstStyle>
          <a:p>
            <a:pPr lvl="0"/>
            <a:r>
              <a:rPr lang="en-US" dirty="0"/>
              <a:t>Click to add title</a:t>
            </a:r>
            <a:endParaRPr lang="en-US" dirty="0"/>
          </a:p>
        </p:txBody>
      </p:sp>
      <p:sp>
        <p:nvSpPr>
          <p:cNvPr id="4" name="文本占位符 3"/>
          <p:cNvSpPr>
            <a:spLocks noGrp="1"/>
          </p:cNvSpPr>
          <p:nvPr>
            <p:ph type="body" sz="quarter" idx="13" hasCustomPrompt="1"/>
          </p:nvPr>
        </p:nvSpPr>
        <p:spPr>
          <a:xfrm>
            <a:off x="673100" y="5742602"/>
            <a:ext cx="6216397" cy="276999"/>
          </a:xfrm>
          <a:prstGeom prst="rect">
            <a:avLst/>
          </a:prstGeom>
        </p:spPr>
        <p:txBody>
          <a:bodyPr wrap="square" lIns="90000">
            <a:normAutofit/>
          </a:bodyPr>
          <a:lstStyle>
            <a:lvl1pPr marL="0" indent="0" algn="l">
              <a:lnSpc>
                <a:spcPct val="100000"/>
              </a:lnSpc>
              <a:buNone/>
              <a:defRPr sz="1200">
                <a:solidFill>
                  <a:schemeClr val="tx1"/>
                </a:solidFill>
              </a:defRPr>
            </a:lvl1pPr>
          </a:lstStyle>
          <a:p>
            <a:pPr lvl="0"/>
            <a:r>
              <a:rPr lang="en-US" dirty="0"/>
              <a:t>Presenter name</a:t>
            </a:r>
            <a:endParaRPr lang="en-US" dirty="0"/>
          </a:p>
        </p:txBody>
      </p:sp>
      <p:sp>
        <p:nvSpPr>
          <p:cNvPr id="7" name="文本占位符 6"/>
          <p:cNvSpPr>
            <a:spLocks noGrp="1"/>
          </p:cNvSpPr>
          <p:nvPr>
            <p:ph type="body" sz="quarter" idx="14" hasCustomPrompt="1"/>
          </p:nvPr>
        </p:nvSpPr>
        <p:spPr>
          <a:xfrm>
            <a:off x="673100" y="5423471"/>
            <a:ext cx="6216397" cy="276999"/>
          </a:xfrm>
          <a:prstGeom prst="rect">
            <a:avLst/>
          </a:prstGeom>
        </p:spPr>
        <p:txBody>
          <a:bodyPr wrap="none">
            <a:normAutofit/>
          </a:bodyPr>
          <a:lstStyle>
            <a:lvl1pPr marL="0" indent="0" algn="l">
              <a:lnSpc>
                <a:spcPct val="100000"/>
              </a:lnSpc>
              <a:buNone/>
              <a:defRPr sz="1200">
                <a:solidFill>
                  <a:schemeClr val="tx1"/>
                </a:solidFill>
              </a:defRPr>
            </a:lvl1pPr>
          </a:lstStyle>
          <a:p>
            <a:pPr lvl="0"/>
            <a:r>
              <a:rPr lang="en-US" dirty="0"/>
              <a:t>https://bit.edu.cn/</a:t>
            </a:r>
            <a:endParaRPr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showMasterSp="0" userDrawn="1">
  <p:cSld name="标题幻灯片">
    <p:spTree>
      <p:nvGrpSpPr>
        <p:cNvPr id="1" name=""/>
        <p:cNvGrpSpPr/>
        <p:nvPr/>
      </p:nvGrpSpPr>
      <p:grpSpPr>
        <a:xfrm>
          <a:off x="0" y="0"/>
          <a:ext cx="0" cy="0"/>
          <a:chOff x="0" y="0"/>
          <a:chExt cx="0" cy="0"/>
        </a:xfrm>
      </p:grpSpPr>
      <p:sp>
        <p:nvSpPr>
          <p:cNvPr id="9801" name="副标题 2"/>
          <p:cNvSpPr>
            <a:spLocks noGrp="1"/>
          </p:cNvSpPr>
          <p:nvPr userDrawn="1">
            <p:ph type="subTitle" idx="1"/>
          </p:nvPr>
        </p:nvSpPr>
        <p:spPr>
          <a:xfrm>
            <a:off x="6577569" y="4331229"/>
            <a:ext cx="4448126" cy="558799"/>
          </a:xfrm>
        </p:spPr>
        <p:txBody>
          <a:bodyPr anchor="t">
            <a:normAutofit/>
          </a:bodyPr>
          <a:lstStyle>
            <a:lvl1pPr marL="0" indent="0" algn="r">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6577569" y="1966186"/>
            <a:ext cx="4448126" cy="2365044"/>
          </a:xfrm>
        </p:spPr>
        <p:txBody>
          <a:bodyPr anchor="b">
            <a:normAutofit/>
          </a:bodyPr>
          <a:lstStyle>
            <a:lvl1pPr algn="r">
              <a:defRPr sz="4000">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708367" y="390501"/>
            <a:ext cx="10845800" cy="296271"/>
          </a:xfrm>
        </p:spPr>
        <p:txBody>
          <a:bodyPr vert="horz" anchor="ctr">
            <a:noAutofit/>
          </a:bodyPr>
          <a:lstStyle>
            <a:lvl1pPr marL="0" indent="0" algn="l">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708367" y="686772"/>
            <a:ext cx="10845800" cy="296271"/>
          </a:xfrm>
        </p:spPr>
        <p:txBody>
          <a:bodyPr vert="horz" anchor="ctr">
            <a:noAutofit/>
          </a:bodyPr>
          <a:lstStyle>
            <a:lvl1pPr marL="0" indent="0" algn="l">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1.png"/><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1" Type="http://schemas.openxmlformats.org/officeDocument/2006/relationships/theme" Target="../theme/theme1.xml"/><Relationship Id="rId10" Type="http://schemas.openxmlformats.org/officeDocument/2006/relationships/image" Target="../media/image2.svg"/><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chemeClr val="accent1">
                <a:lumMod val="20000"/>
                <a:lumOff val="80000"/>
              </a:schemeClr>
            </a:gs>
            <a:gs pos="100000">
              <a:schemeClr val="bg1"/>
            </a:gs>
          </a:gsLst>
          <a:lin ang="13500000" scaled="1"/>
        </a:gradFill>
        <a:effectLst/>
      </p:bgPr>
    </p:bg>
    <p:spTree>
      <p:nvGrpSpPr>
        <p:cNvPr id="1" name=""/>
        <p:cNvGrpSpPr/>
        <p:nvPr/>
      </p:nvGrpSpPr>
      <p:grpSpPr>
        <a:xfrm>
          <a:off x="0" y="0"/>
          <a:ext cx="0" cy="0"/>
          <a:chOff x="0" y="0"/>
          <a:chExt cx="0" cy="0"/>
        </a:xfrm>
      </p:grpSpPr>
      <p:sp>
        <p:nvSpPr>
          <p:cNvPr id="12" name="任意多边形: 形状 11"/>
          <p:cNvSpPr/>
          <p:nvPr/>
        </p:nvSpPr>
        <p:spPr>
          <a:xfrm>
            <a:off x="0" y="5450748"/>
            <a:ext cx="1409700" cy="1407254"/>
          </a:xfrm>
          <a:custGeom>
            <a:avLst/>
            <a:gdLst>
              <a:gd name="connsiteX0" fmla="*/ 22977 w 951094"/>
              <a:gd name="connsiteY0" fmla="*/ 0 h 949443"/>
              <a:gd name="connsiteX1" fmla="*/ 951094 w 951094"/>
              <a:gd name="connsiteY1" fmla="*/ 928117 h 949443"/>
              <a:gd name="connsiteX2" fmla="*/ 948944 w 951094"/>
              <a:gd name="connsiteY2" fmla="*/ 949443 h 949443"/>
              <a:gd name="connsiteX3" fmla="*/ 0 w 951094"/>
              <a:gd name="connsiteY3" fmla="*/ 949443 h 949443"/>
              <a:gd name="connsiteX4" fmla="*/ 0 w 951094"/>
              <a:gd name="connsiteY4" fmla="*/ 1160 h 949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094" h="949443">
                <a:moveTo>
                  <a:pt x="22977" y="0"/>
                </a:moveTo>
                <a:cubicBezTo>
                  <a:pt x="535562" y="0"/>
                  <a:pt x="951094" y="415532"/>
                  <a:pt x="951094" y="928117"/>
                </a:cubicBezTo>
                <a:lnTo>
                  <a:pt x="948944" y="949443"/>
                </a:lnTo>
                <a:lnTo>
                  <a:pt x="0" y="949443"/>
                </a:lnTo>
                <a:lnTo>
                  <a:pt x="0" y="1160"/>
                </a:lnTo>
                <a:close/>
              </a:path>
            </a:pathLst>
          </a:cu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16" name="椭圆 15"/>
          <p:cNvSpPr/>
          <p:nvPr/>
        </p:nvSpPr>
        <p:spPr>
          <a:xfrm>
            <a:off x="11068844" y="363947"/>
            <a:ext cx="900112" cy="900112"/>
          </a:xfrm>
          <a:prstGeom prst="ellipse">
            <a:avLst/>
          </a:pr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c77855b1-59ac-4fef-805e-2ee69800a209"/>
          <p:cNvSpPr>
            <a:spLocks noGrp="1"/>
          </p:cNvSpPr>
          <p:nvPr>
            <p:ph type="title"/>
          </p:nvPr>
        </p:nvSpPr>
        <p:spPr>
          <a:xfrm>
            <a:off x="660400" y="128587"/>
            <a:ext cx="10858500" cy="900112"/>
          </a:xfrm>
          <a:prstGeom prst="rect">
            <a:avLst/>
          </a:prstGeom>
        </p:spPr>
        <p:txBody>
          <a:bodyPr vert="horz" lIns="91440" tIns="45720" rIns="91440" bIns="45720" rtlCol="0" anchor="b">
            <a:normAutofit/>
          </a:bodyPr>
          <a:lstStyle/>
          <a:p>
            <a:pPr lvl="0"/>
            <a:r>
              <a:rPr lang="en-US"/>
              <a:t>Click to add title</a:t>
            </a:r>
            <a:endParaRPr lang="en-US"/>
          </a:p>
        </p:txBody>
      </p:sp>
      <p:sp>
        <p:nvSpPr>
          <p:cNvPr id="3" name="文本占位符 2"/>
          <p:cNvSpPr>
            <a:spLocks noGrp="1"/>
          </p:cNvSpPr>
          <p:nvPr>
            <p:ph type="body" idx="1"/>
          </p:nvPr>
        </p:nvSpPr>
        <p:spPr>
          <a:xfrm>
            <a:off x="660400" y="1130300"/>
            <a:ext cx="10858500" cy="5003800"/>
          </a:xfrm>
          <a:prstGeom prst="rect">
            <a:avLst/>
          </a:prstGeom>
        </p:spPr>
        <p:txBody>
          <a:bodyPr vert="horz" lIns="91440" tIns="45720" rIns="91440" bIns="45720" rtlCol="0">
            <a:normAutofit/>
          </a:bodyPr>
          <a:lstStyle/>
          <a:p>
            <a:pPr lvl="0"/>
            <a:r>
              <a:rPr lang="en-US"/>
              <a:t>Click to add text</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日期占位符 3"/>
          <p:cNvSpPr>
            <a:spLocks noGrp="1"/>
          </p:cNvSpPr>
          <p:nvPr>
            <p:ph type="dt" sz="half" idx="2"/>
          </p:nvPr>
        </p:nvSpPr>
        <p:spPr>
          <a:xfrm>
            <a:off x="4718050" y="6409690"/>
            <a:ext cx="2743200" cy="274320"/>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a:p>
        </p:txBody>
      </p:sp>
      <p:sp>
        <p:nvSpPr>
          <p:cNvPr id="5" name="页脚占位符 4"/>
          <p:cNvSpPr>
            <a:spLocks noGrp="1"/>
          </p:cNvSpPr>
          <p:nvPr>
            <p:ph type="ftr" sz="quarter" idx="3"/>
          </p:nvPr>
        </p:nvSpPr>
        <p:spPr>
          <a:xfrm>
            <a:off x="660399" y="6409690"/>
            <a:ext cx="3657600" cy="274320"/>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灯片编号占位符 5"/>
          <p:cNvSpPr>
            <a:spLocks noGrp="1"/>
          </p:cNvSpPr>
          <p:nvPr>
            <p:ph type="sldNum" sz="quarter" idx="4"/>
          </p:nvPr>
        </p:nvSpPr>
        <p:spPr>
          <a:xfrm>
            <a:off x="7861300" y="6409690"/>
            <a:ext cx="3657600" cy="274320"/>
          </a:xfrm>
          <a:prstGeom prst="rect">
            <a:avLst/>
          </a:prstGeom>
        </p:spPr>
        <p:txBody>
          <a:bodyPr vert="horz" lIns="91440" tIns="45720" rIns="91440" bIns="45720" rtlCol="0" anchor="ctr"/>
          <a:lstStyle>
            <a:lvl1pPr algn="r">
              <a:defRPr sz="1000">
                <a:solidFill>
                  <a:schemeClr val="tx1">
                    <a:tint val="75000"/>
                  </a:schemeClr>
                </a:solidFill>
              </a:defRPr>
            </a:lvl1pPr>
          </a:lstStyle>
          <a:p>
            <a:fld id="{C8BB1146-E542-4D4E-B8E9-6919A11DDD48}" type="slidenum">
              <a:rPr lang="en-US" smtClean="0"/>
            </a:fld>
            <a:endParaRPr lang="en-US"/>
          </a:p>
        </p:txBody>
      </p:sp>
      <p:pic>
        <p:nvPicPr>
          <p:cNvPr id="9" name="图形 8"/>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078370" y="546186"/>
            <a:ext cx="900112" cy="86197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slideLayout" Target="../slideLayouts/slideLayout8.xml"/><Relationship Id="rId6" Type="http://schemas.openxmlformats.org/officeDocument/2006/relationships/tags" Target="../tags/tag1.xml"/><Relationship Id="rId5" Type="http://schemas.openxmlformats.org/officeDocument/2006/relationships/image" Target="../media/image6.svg"/><Relationship Id="rId4" Type="http://schemas.openxmlformats.org/officeDocument/2006/relationships/image" Target="../media/image5.png"/><Relationship Id="rId3" Type="http://schemas.openxmlformats.org/officeDocument/2006/relationships/image" Target="../media/image4.emf"/><Relationship Id="rId2" Type="http://schemas.openxmlformats.org/officeDocument/2006/relationships/oleObject" Target="../embeddings/oleObject1.bin"/><Relationship Id="rId1"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8.xml"/></Relationships>
</file>

<file path=ppt/slides/_rels/slide11.xml.rels><?xml version="1.0" encoding="UTF-8" standalone="yes"?>
<Relationships xmlns="http://schemas.openxmlformats.org/package/2006/relationships"><Relationship Id="rId9" Type="http://schemas.openxmlformats.org/officeDocument/2006/relationships/tags" Target="../tags/tag87.xml"/><Relationship Id="rId8" Type="http://schemas.openxmlformats.org/officeDocument/2006/relationships/tags" Target="../tags/tag86.xml"/><Relationship Id="rId7" Type="http://schemas.openxmlformats.org/officeDocument/2006/relationships/tags" Target="../tags/tag85.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 Id="rId3" Type="http://schemas.openxmlformats.org/officeDocument/2006/relationships/tags" Target="../tags/tag81.xml"/><Relationship Id="rId22" Type="http://schemas.openxmlformats.org/officeDocument/2006/relationships/slideLayout" Target="../slideLayouts/slideLayout5.xml"/><Relationship Id="rId21" Type="http://schemas.openxmlformats.org/officeDocument/2006/relationships/themeOverride" Target="../theme/themeOverride9.xml"/><Relationship Id="rId20" Type="http://schemas.openxmlformats.org/officeDocument/2006/relationships/tags" Target="../tags/tag98.xml"/><Relationship Id="rId2" Type="http://schemas.openxmlformats.org/officeDocument/2006/relationships/tags" Target="../tags/tag80.xml"/><Relationship Id="rId19" Type="http://schemas.openxmlformats.org/officeDocument/2006/relationships/tags" Target="../tags/tag97.xml"/><Relationship Id="rId18" Type="http://schemas.openxmlformats.org/officeDocument/2006/relationships/tags" Target="../tags/tag96.xml"/><Relationship Id="rId17" Type="http://schemas.openxmlformats.org/officeDocument/2006/relationships/tags" Target="../tags/tag95.xml"/><Relationship Id="rId16" Type="http://schemas.openxmlformats.org/officeDocument/2006/relationships/tags" Target="../tags/tag94.xml"/><Relationship Id="rId15" Type="http://schemas.openxmlformats.org/officeDocument/2006/relationships/tags" Target="../tags/tag93.xml"/><Relationship Id="rId14" Type="http://schemas.openxmlformats.org/officeDocument/2006/relationships/tags" Target="../tags/tag92.xml"/><Relationship Id="rId13" Type="http://schemas.openxmlformats.org/officeDocument/2006/relationships/tags" Target="../tags/tag91.xml"/><Relationship Id="rId12" Type="http://schemas.openxmlformats.org/officeDocument/2006/relationships/tags" Target="../tags/tag90.xml"/><Relationship Id="rId11" Type="http://schemas.openxmlformats.org/officeDocument/2006/relationships/tags" Target="../tags/tag89.xml"/><Relationship Id="rId10" Type="http://schemas.openxmlformats.org/officeDocument/2006/relationships/tags" Target="../tags/tag88.xml"/><Relationship Id="rId1" Type="http://schemas.openxmlformats.org/officeDocument/2006/relationships/tags" Target="../tags/tag79.xml"/></Relationships>
</file>

<file path=ppt/slides/_rels/slide12.xml.rels><?xml version="1.0" encoding="UTF-8" standalone="yes"?>
<Relationships xmlns="http://schemas.openxmlformats.org/package/2006/relationships"><Relationship Id="rId9" Type="http://schemas.openxmlformats.org/officeDocument/2006/relationships/tags" Target="../tags/tag107.xml"/><Relationship Id="rId8" Type="http://schemas.openxmlformats.org/officeDocument/2006/relationships/tags" Target="../tags/tag106.xml"/><Relationship Id="rId7" Type="http://schemas.openxmlformats.org/officeDocument/2006/relationships/tags" Target="../tags/tag105.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3" Type="http://schemas.openxmlformats.org/officeDocument/2006/relationships/tags" Target="../tags/tag101.xml"/><Relationship Id="rId23" Type="http://schemas.openxmlformats.org/officeDocument/2006/relationships/slideLayout" Target="../slideLayouts/slideLayout5.xml"/><Relationship Id="rId22" Type="http://schemas.openxmlformats.org/officeDocument/2006/relationships/themeOverride" Target="../theme/themeOverride10.xml"/><Relationship Id="rId21" Type="http://schemas.openxmlformats.org/officeDocument/2006/relationships/tags" Target="../tags/tag119.xml"/><Relationship Id="rId20" Type="http://schemas.openxmlformats.org/officeDocument/2006/relationships/tags" Target="../tags/tag118.xml"/><Relationship Id="rId2" Type="http://schemas.openxmlformats.org/officeDocument/2006/relationships/tags" Target="../tags/tag100.xml"/><Relationship Id="rId19" Type="http://schemas.openxmlformats.org/officeDocument/2006/relationships/tags" Target="../tags/tag117.xml"/><Relationship Id="rId18" Type="http://schemas.openxmlformats.org/officeDocument/2006/relationships/tags" Target="../tags/tag116.xml"/><Relationship Id="rId17" Type="http://schemas.openxmlformats.org/officeDocument/2006/relationships/tags" Target="../tags/tag115.xml"/><Relationship Id="rId16" Type="http://schemas.openxmlformats.org/officeDocument/2006/relationships/tags" Target="../tags/tag114.xml"/><Relationship Id="rId15" Type="http://schemas.openxmlformats.org/officeDocument/2006/relationships/tags" Target="../tags/tag113.xml"/><Relationship Id="rId14" Type="http://schemas.openxmlformats.org/officeDocument/2006/relationships/tags" Target="../tags/tag112.xml"/><Relationship Id="rId13" Type="http://schemas.openxmlformats.org/officeDocument/2006/relationships/tags" Target="../tags/tag111.xml"/><Relationship Id="rId12" Type="http://schemas.openxmlformats.org/officeDocument/2006/relationships/tags" Target="../tags/tag110.xml"/><Relationship Id="rId11" Type="http://schemas.openxmlformats.org/officeDocument/2006/relationships/tags" Target="../tags/tag109.xml"/><Relationship Id="rId10" Type="http://schemas.openxmlformats.org/officeDocument/2006/relationships/tags" Target="../tags/tag108.xml"/><Relationship Id="rId1" Type="http://schemas.openxmlformats.org/officeDocument/2006/relationships/tags" Target="../tags/tag99.xml"/></Relationships>
</file>

<file path=ppt/slides/_rels/slide13.xml.rels><?xml version="1.0" encoding="UTF-8" standalone="yes"?>
<Relationships xmlns="http://schemas.openxmlformats.org/package/2006/relationships"><Relationship Id="rId9" Type="http://schemas.openxmlformats.org/officeDocument/2006/relationships/tags" Target="../tags/tag128.xml"/><Relationship Id="rId8" Type="http://schemas.openxmlformats.org/officeDocument/2006/relationships/tags" Target="../tags/tag127.xml"/><Relationship Id="rId7" Type="http://schemas.openxmlformats.org/officeDocument/2006/relationships/tags" Target="../tags/tag126.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 Id="rId3" Type="http://schemas.openxmlformats.org/officeDocument/2006/relationships/tags" Target="../tags/tag122.xml"/><Relationship Id="rId2" Type="http://schemas.openxmlformats.org/officeDocument/2006/relationships/tags" Target="../tags/tag121.xml"/><Relationship Id="rId12" Type="http://schemas.openxmlformats.org/officeDocument/2006/relationships/slideLayout" Target="../slideLayouts/slideLayout5.xml"/><Relationship Id="rId11" Type="http://schemas.openxmlformats.org/officeDocument/2006/relationships/themeOverride" Target="../theme/themeOverride11.xml"/><Relationship Id="rId10" Type="http://schemas.openxmlformats.org/officeDocument/2006/relationships/tags" Target="../tags/tag129.xml"/><Relationship Id="rId1" Type="http://schemas.openxmlformats.org/officeDocument/2006/relationships/tags" Target="../tags/tag120.xml"/></Relationships>
</file>

<file path=ppt/slides/_rels/slide14.xml.rels><?xml version="1.0" encoding="UTF-8" standalone="yes"?>
<Relationships xmlns="http://schemas.openxmlformats.org/package/2006/relationships"><Relationship Id="rId9" Type="http://schemas.openxmlformats.org/officeDocument/2006/relationships/tags" Target="../tags/tag138.xml"/><Relationship Id="rId8" Type="http://schemas.openxmlformats.org/officeDocument/2006/relationships/tags" Target="../tags/tag137.xml"/><Relationship Id="rId7" Type="http://schemas.openxmlformats.org/officeDocument/2006/relationships/tags" Target="../tags/tag136.xml"/><Relationship Id="rId6" Type="http://schemas.openxmlformats.org/officeDocument/2006/relationships/tags" Target="../tags/tag135.xml"/><Relationship Id="rId5" Type="http://schemas.openxmlformats.org/officeDocument/2006/relationships/tags" Target="../tags/tag134.xml"/><Relationship Id="rId4" Type="http://schemas.openxmlformats.org/officeDocument/2006/relationships/tags" Target="../tags/tag133.xml"/><Relationship Id="rId3" Type="http://schemas.openxmlformats.org/officeDocument/2006/relationships/tags" Target="../tags/tag132.xml"/><Relationship Id="rId23" Type="http://schemas.openxmlformats.org/officeDocument/2006/relationships/slideLayout" Target="../slideLayouts/slideLayout5.xml"/><Relationship Id="rId22" Type="http://schemas.openxmlformats.org/officeDocument/2006/relationships/themeOverride" Target="../theme/themeOverride12.xml"/><Relationship Id="rId21" Type="http://schemas.openxmlformats.org/officeDocument/2006/relationships/tags" Target="../tags/tag150.xml"/><Relationship Id="rId20" Type="http://schemas.openxmlformats.org/officeDocument/2006/relationships/tags" Target="../tags/tag149.xml"/><Relationship Id="rId2" Type="http://schemas.openxmlformats.org/officeDocument/2006/relationships/tags" Target="../tags/tag131.xml"/><Relationship Id="rId19" Type="http://schemas.openxmlformats.org/officeDocument/2006/relationships/tags" Target="../tags/tag148.xml"/><Relationship Id="rId18" Type="http://schemas.openxmlformats.org/officeDocument/2006/relationships/tags" Target="../tags/tag147.xml"/><Relationship Id="rId17" Type="http://schemas.openxmlformats.org/officeDocument/2006/relationships/tags" Target="../tags/tag146.xml"/><Relationship Id="rId16" Type="http://schemas.openxmlformats.org/officeDocument/2006/relationships/tags" Target="../tags/tag145.xml"/><Relationship Id="rId15" Type="http://schemas.openxmlformats.org/officeDocument/2006/relationships/tags" Target="../tags/tag144.xml"/><Relationship Id="rId14" Type="http://schemas.openxmlformats.org/officeDocument/2006/relationships/tags" Target="../tags/tag143.xml"/><Relationship Id="rId13" Type="http://schemas.openxmlformats.org/officeDocument/2006/relationships/tags" Target="../tags/tag142.xml"/><Relationship Id="rId12" Type="http://schemas.openxmlformats.org/officeDocument/2006/relationships/tags" Target="../tags/tag141.xml"/><Relationship Id="rId11" Type="http://schemas.openxmlformats.org/officeDocument/2006/relationships/tags" Target="../tags/tag140.xml"/><Relationship Id="rId10" Type="http://schemas.openxmlformats.org/officeDocument/2006/relationships/tags" Target="../tags/tag139.xml"/><Relationship Id="rId1" Type="http://schemas.openxmlformats.org/officeDocument/2006/relationships/tags" Target="../tags/tag130.xml"/></Relationships>
</file>

<file path=ppt/slides/_rels/slide15.xml.rels><?xml version="1.0" encoding="UTF-8" standalone="yes"?>
<Relationships xmlns="http://schemas.openxmlformats.org/package/2006/relationships"><Relationship Id="rId9" Type="http://schemas.openxmlformats.org/officeDocument/2006/relationships/tags" Target="../tags/tag158.xml"/><Relationship Id="rId8" Type="http://schemas.openxmlformats.org/officeDocument/2006/relationships/tags" Target="../tags/tag157.xml"/><Relationship Id="rId7" Type="http://schemas.openxmlformats.org/officeDocument/2006/relationships/tags" Target="../tags/tag156.x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 Id="rId3" Type="http://schemas.openxmlformats.org/officeDocument/2006/relationships/tags" Target="../tags/tag152.xml"/><Relationship Id="rId21" Type="http://schemas.openxmlformats.org/officeDocument/2006/relationships/slideLayout" Target="../slideLayouts/slideLayout5.xml"/><Relationship Id="rId20" Type="http://schemas.openxmlformats.org/officeDocument/2006/relationships/themeOverride" Target="../theme/themeOverride13.xml"/><Relationship Id="rId2" Type="http://schemas.openxmlformats.org/officeDocument/2006/relationships/tags" Target="../tags/tag151.xml"/><Relationship Id="rId19" Type="http://schemas.openxmlformats.org/officeDocument/2006/relationships/tags" Target="../tags/tag168.xml"/><Relationship Id="rId18" Type="http://schemas.openxmlformats.org/officeDocument/2006/relationships/tags" Target="../tags/tag167.xml"/><Relationship Id="rId17" Type="http://schemas.openxmlformats.org/officeDocument/2006/relationships/tags" Target="../tags/tag166.xml"/><Relationship Id="rId16" Type="http://schemas.openxmlformats.org/officeDocument/2006/relationships/tags" Target="../tags/tag165.xml"/><Relationship Id="rId15" Type="http://schemas.openxmlformats.org/officeDocument/2006/relationships/tags" Target="../tags/tag164.xml"/><Relationship Id="rId14" Type="http://schemas.openxmlformats.org/officeDocument/2006/relationships/tags" Target="../tags/tag163.xml"/><Relationship Id="rId13" Type="http://schemas.openxmlformats.org/officeDocument/2006/relationships/tags" Target="../tags/tag162.xml"/><Relationship Id="rId12" Type="http://schemas.openxmlformats.org/officeDocument/2006/relationships/tags" Target="../tags/tag161.xml"/><Relationship Id="rId11" Type="http://schemas.openxmlformats.org/officeDocument/2006/relationships/tags" Target="../tags/tag160.xml"/><Relationship Id="rId10" Type="http://schemas.openxmlformats.org/officeDocument/2006/relationships/tags" Target="../tags/tag159.xml"/><Relationship Id="rId1" Type="http://schemas.openxmlformats.org/officeDocument/2006/relationships/image" Target="../media/image12.jpeg"/></Relationships>
</file>

<file path=ppt/slides/_rels/slide16.xml.rels><?xml version="1.0" encoding="UTF-8" standalone="yes"?>
<Relationships xmlns="http://schemas.openxmlformats.org/package/2006/relationships"><Relationship Id="rId9" Type="http://schemas.openxmlformats.org/officeDocument/2006/relationships/tags" Target="../tags/tag177.xml"/><Relationship Id="rId8" Type="http://schemas.openxmlformats.org/officeDocument/2006/relationships/tags" Target="../tags/tag176.xml"/><Relationship Id="rId7" Type="http://schemas.openxmlformats.org/officeDocument/2006/relationships/tags" Target="../tags/tag175.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3" Type="http://schemas.openxmlformats.org/officeDocument/2006/relationships/tags" Target="../tags/tag171.xml"/><Relationship Id="rId21" Type="http://schemas.openxmlformats.org/officeDocument/2006/relationships/slideLayout" Target="../slideLayouts/slideLayout5.xml"/><Relationship Id="rId20" Type="http://schemas.openxmlformats.org/officeDocument/2006/relationships/themeOverride" Target="../theme/themeOverride14.xml"/><Relationship Id="rId2" Type="http://schemas.openxmlformats.org/officeDocument/2006/relationships/tags" Target="../tags/tag170.xml"/><Relationship Id="rId19" Type="http://schemas.openxmlformats.org/officeDocument/2006/relationships/tags" Target="../tags/tag187.xml"/><Relationship Id="rId18" Type="http://schemas.openxmlformats.org/officeDocument/2006/relationships/tags" Target="../tags/tag186.xml"/><Relationship Id="rId17" Type="http://schemas.openxmlformats.org/officeDocument/2006/relationships/tags" Target="../tags/tag185.xml"/><Relationship Id="rId16" Type="http://schemas.openxmlformats.org/officeDocument/2006/relationships/tags" Target="../tags/tag184.xml"/><Relationship Id="rId15" Type="http://schemas.openxmlformats.org/officeDocument/2006/relationships/tags" Target="../tags/tag183.xml"/><Relationship Id="rId14" Type="http://schemas.openxmlformats.org/officeDocument/2006/relationships/tags" Target="../tags/tag182.xml"/><Relationship Id="rId13" Type="http://schemas.openxmlformats.org/officeDocument/2006/relationships/tags" Target="../tags/tag181.xml"/><Relationship Id="rId12" Type="http://schemas.openxmlformats.org/officeDocument/2006/relationships/tags" Target="../tags/tag180.xml"/><Relationship Id="rId11" Type="http://schemas.openxmlformats.org/officeDocument/2006/relationships/tags" Target="../tags/tag179.xml"/><Relationship Id="rId10" Type="http://schemas.openxmlformats.org/officeDocument/2006/relationships/tags" Target="../tags/tag178.xml"/><Relationship Id="rId1" Type="http://schemas.openxmlformats.org/officeDocument/2006/relationships/tags" Target="../tags/tag169.xml"/></Relationships>
</file>

<file path=ppt/slides/_rels/slide17.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slideLayout" Target="../slideLayouts/slideLayout8.xml"/><Relationship Id="rId6" Type="http://schemas.openxmlformats.org/officeDocument/2006/relationships/tags" Target="../tags/tag188.xml"/><Relationship Id="rId5" Type="http://schemas.openxmlformats.org/officeDocument/2006/relationships/image" Target="../media/image6.svg"/><Relationship Id="rId4" Type="http://schemas.openxmlformats.org/officeDocument/2006/relationships/image" Target="../media/image5.png"/><Relationship Id="rId3" Type="http://schemas.openxmlformats.org/officeDocument/2006/relationships/image" Target="../media/image4.emf"/><Relationship Id="rId2" Type="http://schemas.openxmlformats.org/officeDocument/2006/relationships/oleObject" Target="../embeddings/oleObject2.bin"/><Relationship Id="rId1" Type="http://schemas.openxmlformats.org/officeDocument/2006/relationships/image" Target="../media/image3.png"/></Relationships>
</file>

<file path=ppt/slides/_rels/slide2.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 Type="http://schemas.openxmlformats.org/officeDocument/2006/relationships/tags" Target="../tags/tag2.xml"/><Relationship Id="rId12" Type="http://schemas.openxmlformats.org/officeDocument/2006/relationships/notesSlide" Target="../notesSlides/notesSlide1.xml"/><Relationship Id="rId11" Type="http://schemas.openxmlformats.org/officeDocument/2006/relationships/slideLayout" Target="../slideLayouts/slideLayout6.xml"/><Relationship Id="rId10" Type="http://schemas.openxmlformats.org/officeDocument/2006/relationships/themeOverride" Target="../theme/themeOverride1.xml"/><Relationship Id="rId1" Type="http://schemas.openxmlformats.org/officeDocument/2006/relationships/image" Target="../media/image7.jpeg"/></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8.xml"/><Relationship Id="rId4" Type="http://schemas.openxmlformats.org/officeDocument/2006/relationships/themeOverride" Target="../theme/themeOverride2.xml"/><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hemeOverride" Target="../theme/themeOverride3.xml"/><Relationship Id="rId1" Type="http://schemas.openxmlformats.org/officeDocument/2006/relationships/image" Target="../media/image8.png"/></Relationships>
</file>

<file path=ppt/slides/_rels/slide5.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4" Type="http://schemas.openxmlformats.org/officeDocument/2006/relationships/slideLayout" Target="../slideLayouts/slideLayout5.xml"/><Relationship Id="rId23" Type="http://schemas.openxmlformats.org/officeDocument/2006/relationships/themeOverride" Target="../theme/themeOverride4.xml"/><Relationship Id="rId22" Type="http://schemas.openxmlformats.org/officeDocument/2006/relationships/tags" Target="../tags/tag31.xml"/><Relationship Id="rId21" Type="http://schemas.openxmlformats.org/officeDocument/2006/relationships/tags" Target="../tags/tag30.xml"/><Relationship Id="rId20" Type="http://schemas.openxmlformats.org/officeDocument/2006/relationships/tags" Target="../tags/tag29.xml"/><Relationship Id="rId2" Type="http://schemas.openxmlformats.org/officeDocument/2006/relationships/tags" Target="../tags/tag11.xml"/><Relationship Id="rId19" Type="http://schemas.openxmlformats.org/officeDocument/2006/relationships/tags" Target="../tags/tag28.xml"/><Relationship Id="rId18" Type="http://schemas.openxmlformats.org/officeDocument/2006/relationships/tags" Target="../tags/tag27.xml"/><Relationship Id="rId17" Type="http://schemas.openxmlformats.org/officeDocument/2006/relationships/tags" Target="../tags/tag26.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 Type="http://schemas.openxmlformats.org/officeDocument/2006/relationships/tags" Target="../tags/tag10.xml"/></Relationships>
</file>

<file path=ppt/slides/_rels/slide6.xml.rels><?xml version="1.0" encoding="UTF-8" standalone="yes"?>
<Relationships xmlns="http://schemas.openxmlformats.org/package/2006/relationships"><Relationship Id="rId9" Type="http://schemas.openxmlformats.org/officeDocument/2006/relationships/tags" Target="../tags/tag40.xml"/><Relationship Id="rId8" Type="http://schemas.openxmlformats.org/officeDocument/2006/relationships/tags" Target="../tags/tag39.xml"/><Relationship Id="rId7" Type="http://schemas.openxmlformats.org/officeDocument/2006/relationships/tags" Target="../tags/tag38.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 Id="rId3" Type="http://schemas.openxmlformats.org/officeDocument/2006/relationships/tags" Target="../tags/tag34.xml"/><Relationship Id="rId24" Type="http://schemas.openxmlformats.org/officeDocument/2006/relationships/slideLayout" Target="../slideLayouts/slideLayout5.xml"/><Relationship Id="rId23" Type="http://schemas.openxmlformats.org/officeDocument/2006/relationships/themeOverride" Target="../theme/themeOverride5.xml"/><Relationship Id="rId22" Type="http://schemas.openxmlformats.org/officeDocument/2006/relationships/tags" Target="../tags/tag53.xml"/><Relationship Id="rId21" Type="http://schemas.openxmlformats.org/officeDocument/2006/relationships/tags" Target="../tags/tag52.xml"/><Relationship Id="rId20" Type="http://schemas.openxmlformats.org/officeDocument/2006/relationships/tags" Target="../tags/tag51.xml"/><Relationship Id="rId2" Type="http://schemas.openxmlformats.org/officeDocument/2006/relationships/tags" Target="../tags/tag33.xml"/><Relationship Id="rId19" Type="http://schemas.openxmlformats.org/officeDocument/2006/relationships/tags" Target="../tags/tag50.xml"/><Relationship Id="rId18" Type="http://schemas.openxmlformats.org/officeDocument/2006/relationships/tags" Target="../tags/tag49.xml"/><Relationship Id="rId17" Type="http://schemas.openxmlformats.org/officeDocument/2006/relationships/tags" Target="../tags/tag48.xml"/><Relationship Id="rId16" Type="http://schemas.openxmlformats.org/officeDocument/2006/relationships/tags" Target="../tags/tag47.xml"/><Relationship Id="rId15" Type="http://schemas.openxmlformats.org/officeDocument/2006/relationships/tags" Target="../tags/tag46.xml"/><Relationship Id="rId14" Type="http://schemas.openxmlformats.org/officeDocument/2006/relationships/tags" Target="../tags/tag45.xml"/><Relationship Id="rId13" Type="http://schemas.openxmlformats.org/officeDocument/2006/relationships/tags" Target="../tags/tag44.xml"/><Relationship Id="rId12" Type="http://schemas.openxmlformats.org/officeDocument/2006/relationships/tags" Target="../tags/tag43.xml"/><Relationship Id="rId11" Type="http://schemas.openxmlformats.org/officeDocument/2006/relationships/tags" Target="../tags/tag42.xml"/><Relationship Id="rId10" Type="http://schemas.openxmlformats.org/officeDocument/2006/relationships/tags" Target="../tags/tag41.xml"/><Relationship Id="rId1" Type="http://schemas.openxmlformats.org/officeDocument/2006/relationships/tags" Target="../tags/tag32.xml"/></Relationships>
</file>

<file path=ppt/slides/_rels/slide7.xml.rels><?xml version="1.0" encoding="UTF-8" standalone="yes"?>
<Relationships xmlns="http://schemas.openxmlformats.org/package/2006/relationships"><Relationship Id="rId9" Type="http://schemas.openxmlformats.org/officeDocument/2006/relationships/tags" Target="../tags/tag62.xml"/><Relationship Id="rId8" Type="http://schemas.openxmlformats.org/officeDocument/2006/relationships/tags" Target="../tags/tag61.xml"/><Relationship Id="rId7" Type="http://schemas.openxmlformats.org/officeDocument/2006/relationships/tags" Target="../tags/tag60.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3" Type="http://schemas.openxmlformats.org/officeDocument/2006/relationships/tags" Target="../tags/tag56.xml"/><Relationship Id="rId27" Type="http://schemas.openxmlformats.org/officeDocument/2006/relationships/slideLayout" Target="../slideLayouts/slideLayout5.xml"/><Relationship Id="rId26" Type="http://schemas.openxmlformats.org/officeDocument/2006/relationships/themeOverride" Target="../theme/themeOverride6.xml"/><Relationship Id="rId25" Type="http://schemas.openxmlformats.org/officeDocument/2006/relationships/tags" Target="../tags/tag78.xml"/><Relationship Id="rId24" Type="http://schemas.openxmlformats.org/officeDocument/2006/relationships/tags" Target="../tags/tag77.xml"/><Relationship Id="rId23" Type="http://schemas.openxmlformats.org/officeDocument/2006/relationships/tags" Target="../tags/tag76.xml"/><Relationship Id="rId22" Type="http://schemas.openxmlformats.org/officeDocument/2006/relationships/tags" Target="../tags/tag75.xml"/><Relationship Id="rId21" Type="http://schemas.openxmlformats.org/officeDocument/2006/relationships/tags" Target="../tags/tag74.xml"/><Relationship Id="rId20" Type="http://schemas.openxmlformats.org/officeDocument/2006/relationships/tags" Target="../tags/tag73.xml"/><Relationship Id="rId2" Type="http://schemas.openxmlformats.org/officeDocument/2006/relationships/tags" Target="../tags/tag55.xml"/><Relationship Id="rId19" Type="http://schemas.openxmlformats.org/officeDocument/2006/relationships/tags" Target="../tags/tag72.xml"/><Relationship Id="rId18" Type="http://schemas.openxmlformats.org/officeDocument/2006/relationships/tags" Target="../tags/tag71.xml"/><Relationship Id="rId17" Type="http://schemas.openxmlformats.org/officeDocument/2006/relationships/tags" Target="../tags/tag70.xml"/><Relationship Id="rId16" Type="http://schemas.openxmlformats.org/officeDocument/2006/relationships/tags" Target="../tags/tag69.xml"/><Relationship Id="rId15" Type="http://schemas.openxmlformats.org/officeDocument/2006/relationships/tags" Target="../tags/tag68.xml"/><Relationship Id="rId14" Type="http://schemas.openxmlformats.org/officeDocument/2006/relationships/tags" Target="../tags/tag67.xml"/><Relationship Id="rId13" Type="http://schemas.openxmlformats.org/officeDocument/2006/relationships/tags" Target="../tags/tag66.xml"/><Relationship Id="rId12" Type="http://schemas.openxmlformats.org/officeDocument/2006/relationships/tags" Target="../tags/tag65.xml"/><Relationship Id="rId11" Type="http://schemas.openxmlformats.org/officeDocument/2006/relationships/tags" Target="../tags/tag64.xml"/><Relationship Id="rId10" Type="http://schemas.openxmlformats.org/officeDocument/2006/relationships/tags" Target="../tags/tag63.xml"/><Relationship Id="rId1" Type="http://schemas.openxmlformats.org/officeDocument/2006/relationships/tags" Target="../tags/tag54.xml"/></Relationships>
</file>

<file path=ppt/slides/_rels/slide8.xml.rels><?xml version="1.0" encoding="UTF-8" standalone="yes"?>
<Relationships xmlns="http://schemas.openxmlformats.org/package/2006/relationships"><Relationship Id="rId5" Type="http://schemas.openxmlformats.org/officeDocument/2006/relationships/slideLayout" Target="../slideLayouts/slideLayout8.xml"/><Relationship Id="rId4" Type="http://schemas.openxmlformats.org/officeDocument/2006/relationships/image" Target="../media/image6.svg"/><Relationship Id="rId3" Type="http://schemas.openxmlformats.org/officeDocument/2006/relationships/image" Target="../media/image5.png"/><Relationship Id="rId2" Type="http://schemas.microsoft.com/office/2007/relationships/hdphoto" Target="../media/image10.wdp"/><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hemeOverride" Target="../theme/themeOverride7.xml"/><Relationship Id="rId1"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椭圆 10"/>
          <p:cNvSpPr/>
          <p:nvPr/>
        </p:nvSpPr>
        <p:spPr>
          <a:xfrm>
            <a:off x="11293929" y="-1383282"/>
            <a:ext cx="2139845" cy="2139845"/>
          </a:xfrm>
          <a:prstGeom prst="ellipse">
            <a:avLst/>
          </a:pr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5" name="图形 2"/>
          <p:cNvPicPr>
            <a:picLocks noChangeAspect="1"/>
          </p:cNvPicPr>
          <p:nvPr/>
        </p:nvPicPr>
        <p:blipFill>
          <a:blip r:embed="rId1">
            <a:extLst>
              <a:ext uri="{28A0092B-C50C-407E-A947-70E740481C1C}">
                <a14:useLocalDpi xmlns:a14="http://schemas.microsoft.com/office/drawing/2010/main" val="0"/>
              </a:ext>
            </a:extLst>
          </a:blip>
          <a:srcRect/>
          <a:stretch>
            <a:fillRect/>
          </a:stretch>
        </p:blipFill>
        <p:spPr>
          <a:xfrm>
            <a:off x="-665707" y="3387563"/>
            <a:ext cx="14099481" cy="3914980"/>
          </a:xfrm>
          <a:prstGeom prst="rect">
            <a:avLst/>
          </a:prstGeom>
        </p:spPr>
      </p:pic>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4" name="íśľiḓé"/>
          <p:cNvSpPr txBox="1"/>
          <p:nvPr/>
        </p:nvSpPr>
        <p:spPr>
          <a:xfrm>
            <a:off x="4898682" y="588422"/>
            <a:ext cx="6546850" cy="2123658"/>
          </a:xfrm>
          <a:prstGeom prst="rect">
            <a:avLst/>
          </a:prstGeom>
          <a:noFill/>
        </p:spPr>
        <p:txBody>
          <a:bodyPr wrap="square" rtlCol="0" anchor="t">
            <a:spAutoFit/>
          </a:bodyPr>
          <a:lstStyle/>
          <a:p>
            <a:pPr algn="r">
              <a:defRPr/>
            </a:pPr>
            <a:r>
              <a:rPr lang="zh-CN" altLang="zh-CN" sz="6600" b="1" dirty="0">
                <a:solidFill>
                  <a:srgbClr val="0070C0"/>
                </a:solidFill>
                <a:latin typeface="Arial" panose="020B0604020202020204"/>
                <a:ea typeface="微软雅黑" panose="020B0503020204020204" pitchFamily="34" charset="-122"/>
              </a:rPr>
              <a:t>北京理工大学</a:t>
            </a:r>
            <a:endParaRPr lang="en-US" altLang="zh-CN" sz="6600" b="1" dirty="0">
              <a:solidFill>
                <a:srgbClr val="0070C0"/>
              </a:solidFill>
              <a:latin typeface="Arial" panose="020B0604020202020204"/>
              <a:ea typeface="微软雅黑" panose="020B0503020204020204" pitchFamily="34" charset="-122"/>
            </a:endParaRPr>
          </a:p>
          <a:p>
            <a:pPr algn="r">
              <a:defRPr/>
            </a:pPr>
            <a:r>
              <a:rPr lang="zh-CN" altLang="zh-CN" sz="6600" b="1" dirty="0">
                <a:solidFill>
                  <a:srgbClr val="0070C0"/>
                </a:solidFill>
                <a:latin typeface="Arial" panose="020B0604020202020204"/>
                <a:ea typeface="微软雅黑" panose="020B0503020204020204" pitchFamily="34" charset="-122"/>
              </a:rPr>
              <a:t>会议通用模板</a:t>
            </a:r>
            <a:endParaRPr lang="zh-CN" altLang="zh-CN" sz="6600" b="1" dirty="0">
              <a:solidFill>
                <a:srgbClr val="0070C0"/>
              </a:solidFill>
              <a:latin typeface="Arial" panose="020B0604020202020204"/>
              <a:ea typeface="微软雅黑" panose="020B0503020204020204" pitchFamily="34" charset="-122"/>
            </a:endParaRPr>
          </a:p>
        </p:txBody>
      </p:sp>
      <p:sp>
        <p:nvSpPr>
          <p:cNvPr id="16" name="ïSľïde"/>
          <p:cNvSpPr txBox="1"/>
          <p:nvPr/>
        </p:nvSpPr>
        <p:spPr>
          <a:xfrm>
            <a:off x="6105450" y="2658368"/>
            <a:ext cx="5247134" cy="482600"/>
          </a:xfrm>
          <a:prstGeom prst="rect">
            <a:avLst/>
          </a:prstGeom>
        </p:spPr>
        <p:txBody>
          <a:bodyPr vert="horz" lIns="91440" tIns="45720" rIns="91440" bIns="45720" rtlCol="0" anchor="b">
            <a:normAutofit fontScale="97500"/>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defRPr/>
            </a:pPr>
            <a:r>
              <a:rPr kumimoji="0" lang="en-US" altLang="zh-CN" sz="2200" i="0" u="none" strike="noStrike" kern="1200" cap="none" spc="0" normalizeH="0" baseline="0" noProof="0" dirty="0">
                <a:ln>
                  <a:noFill/>
                </a:ln>
                <a:solidFill>
                  <a:srgbClr val="0070C0"/>
                </a:solidFill>
                <a:effectLst/>
                <a:uLnTx/>
                <a:uFillTx/>
                <a:ea typeface="微软雅黑" panose="020B0503020204020204" pitchFamily="34" charset="-122"/>
                <a:cs typeface="+mj-cs"/>
              </a:rPr>
              <a:t>TITLE OF THE PRESENTATION</a:t>
            </a:r>
            <a:endParaRPr kumimoji="0" lang="en-US" altLang="zh-CN" sz="2200" i="0" u="none" strike="noStrike" kern="1200" cap="none" spc="0" normalizeH="0" baseline="0" noProof="0" dirty="0">
              <a:ln>
                <a:noFill/>
              </a:ln>
              <a:solidFill>
                <a:srgbClr val="0070C0"/>
              </a:solidFill>
              <a:effectLst/>
              <a:uLnTx/>
              <a:uFillTx/>
              <a:ea typeface="微软雅黑" panose="020B0503020204020204" pitchFamily="34" charset="-122"/>
              <a:cs typeface="+mj-cs"/>
            </a:endParaRPr>
          </a:p>
        </p:txBody>
      </p:sp>
      <p:sp>
        <p:nvSpPr>
          <p:cNvPr id="17" name="文本占位符 7"/>
          <p:cNvSpPr txBox="1"/>
          <p:nvPr/>
        </p:nvSpPr>
        <p:spPr>
          <a:xfrm>
            <a:off x="9696657" y="3840238"/>
            <a:ext cx="2495343" cy="2962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400">
              <a:buNone/>
              <a:defRPr/>
            </a:pPr>
            <a:r>
              <a:rPr lang="zh-CN" altLang="zh-CN" sz="1600" dirty="0">
                <a:solidFill>
                  <a:srgbClr val="0070C0"/>
                </a:solidFill>
                <a:latin typeface="Arial" panose="020B0604020202020204"/>
                <a:ea typeface="微软雅黑" panose="020B0503020204020204" pitchFamily="34" charset="-122"/>
                <a:cs typeface="+mj-cs"/>
              </a:rPr>
              <a:t>汇报人 </a:t>
            </a:r>
            <a:r>
              <a:rPr lang="zh-CN" altLang="en-US" sz="1600" dirty="0">
                <a:solidFill>
                  <a:srgbClr val="0070C0"/>
                </a:solidFill>
                <a:latin typeface="Arial" panose="020B0604020202020204"/>
                <a:ea typeface="微软雅黑" panose="020B0503020204020204" pitchFamily="34" charset="-122"/>
                <a:cs typeface="+mj-cs"/>
              </a:rPr>
              <a:t>：</a:t>
            </a:r>
            <a:r>
              <a:rPr lang="zh-CN" altLang="en-US" sz="1600" dirty="0">
                <a:solidFill>
                  <a:srgbClr val="0070C0"/>
                </a:solidFill>
                <a:latin typeface="Arial" panose="020B0604020202020204"/>
                <a:ea typeface="微软雅黑" panose="020B0503020204020204" pitchFamily="34" charset="-122"/>
                <a:cs typeface="+mj-cs"/>
              </a:rPr>
              <a:t>某某某</a:t>
            </a:r>
            <a:endParaRPr lang="zh-CN" altLang="en-US" sz="1600" dirty="0">
              <a:solidFill>
                <a:srgbClr val="0070C0"/>
              </a:solidFill>
              <a:latin typeface="Arial" panose="020B0604020202020204"/>
              <a:ea typeface="微软雅黑" panose="020B0503020204020204" pitchFamily="34" charset="-122"/>
              <a:cs typeface="+mj-cs"/>
            </a:endParaRPr>
          </a:p>
        </p:txBody>
      </p:sp>
      <p:sp>
        <p:nvSpPr>
          <p:cNvPr id="18" name="文本占位符 6"/>
          <p:cNvSpPr txBox="1"/>
          <p:nvPr/>
        </p:nvSpPr>
        <p:spPr>
          <a:xfrm>
            <a:off x="9689757" y="4212849"/>
            <a:ext cx="1755775" cy="296271"/>
          </a:xfrm>
          <a:prstGeom prst="rect">
            <a:avLst/>
          </a:prstGeom>
        </p:spPr>
        <p:txBody>
          <a:bodyPr vert="horz" wrap="none"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lang="zh-CN" altLang="en-US" sz="1000" b="0" kern="1200" dirty="0" smtClean="0">
                <a:ln>
                  <a:noFill/>
                </a:ln>
                <a:solidFill>
                  <a:schemeClr val="tx1"/>
                </a:solidFill>
                <a:latin typeface="+mj-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zh-CN" altLang="en-US"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日期：</a:t>
            </a:r>
            <a:r>
              <a:rPr kumimoji="0" lang="en-US" altLang="zh-CN"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 </a:t>
            </a:r>
            <a:r>
              <a:rPr kumimoji="0"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年</a:t>
            </a:r>
            <a:r>
              <a:rPr kumimoji="0" lang="en-US" altLang="zh-CN"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  </a:t>
            </a:r>
            <a:r>
              <a:rPr kumimoji="0"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月</a:t>
            </a:r>
            <a:r>
              <a:rPr kumimoji="0" lang="en-US" altLang="zh-CN"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  </a:t>
            </a:r>
            <a:r>
              <a:rPr kumimoji="0"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日</a:t>
            </a:r>
            <a:endParaRPr kumimoji="0"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endParaRPr>
          </a:p>
        </p:txBody>
      </p:sp>
      <p:sp>
        <p:nvSpPr>
          <p:cNvPr id="9" name="文本占位符 7"/>
          <p:cNvSpPr txBox="1"/>
          <p:nvPr/>
        </p:nvSpPr>
        <p:spPr>
          <a:xfrm>
            <a:off x="9696657" y="3484530"/>
            <a:ext cx="2495343" cy="2962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400">
              <a:buNone/>
              <a:defRPr/>
            </a:pPr>
            <a:r>
              <a:rPr lang="zh-CN" altLang="en-US" sz="1600" dirty="0">
                <a:solidFill>
                  <a:srgbClr val="0070C0"/>
                </a:solidFill>
                <a:latin typeface="Arial" panose="020B0604020202020204"/>
                <a:ea typeface="微软雅黑" panose="020B0503020204020204" pitchFamily="34" charset="-122"/>
                <a:cs typeface="+mj-cs"/>
              </a:rPr>
              <a:t>部门</a:t>
            </a:r>
            <a:r>
              <a:rPr lang="zh-CN" altLang="zh-CN" sz="1600" dirty="0">
                <a:solidFill>
                  <a:srgbClr val="0070C0"/>
                </a:solidFill>
                <a:latin typeface="Arial" panose="020B0604020202020204"/>
                <a:ea typeface="微软雅黑" panose="020B0503020204020204" pitchFamily="34" charset="-122"/>
                <a:cs typeface="+mj-cs"/>
              </a:rPr>
              <a:t> </a:t>
            </a:r>
            <a:r>
              <a:rPr lang="zh-CN" altLang="en-US" sz="1600" dirty="0">
                <a:solidFill>
                  <a:srgbClr val="0070C0"/>
                </a:solidFill>
                <a:latin typeface="Arial" panose="020B0604020202020204"/>
                <a:ea typeface="微软雅黑" panose="020B0503020204020204" pitchFamily="34" charset="-122"/>
                <a:cs typeface="+mj-cs"/>
              </a:rPr>
              <a:t>：虚拟部门</a:t>
            </a:r>
            <a:endParaRPr lang="en-US" altLang="zh-CN" sz="1600" dirty="0">
              <a:solidFill>
                <a:srgbClr val="0070C0"/>
              </a:solidFill>
              <a:latin typeface="Arial" panose="020B0604020202020204"/>
              <a:ea typeface="微软雅黑" panose="020B0503020204020204" pitchFamily="34" charset="-122"/>
              <a:cs typeface="+mj-cs"/>
            </a:endParaRPr>
          </a:p>
        </p:txBody>
      </p:sp>
      <p:pic>
        <p:nvPicPr>
          <p:cNvPr id="10" name="图形 9"/>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7659" y="588422"/>
            <a:ext cx="2939927" cy="656177"/>
          </a:xfrm>
          <a:prstGeom prst="rect">
            <a:avLst/>
          </a:prstGeom>
        </p:spPr>
      </p:pic>
      <p:sp>
        <p:nvSpPr>
          <p:cNvPr id="13" name="任意多边形: 形状 12"/>
          <p:cNvSpPr/>
          <p:nvPr/>
        </p:nvSpPr>
        <p:spPr>
          <a:xfrm>
            <a:off x="0" y="5450748"/>
            <a:ext cx="1409700" cy="1407254"/>
          </a:xfrm>
          <a:custGeom>
            <a:avLst/>
            <a:gdLst>
              <a:gd name="connsiteX0" fmla="*/ 22977 w 951094"/>
              <a:gd name="connsiteY0" fmla="*/ 0 h 949443"/>
              <a:gd name="connsiteX1" fmla="*/ 951094 w 951094"/>
              <a:gd name="connsiteY1" fmla="*/ 928117 h 949443"/>
              <a:gd name="connsiteX2" fmla="*/ 948944 w 951094"/>
              <a:gd name="connsiteY2" fmla="*/ 949443 h 949443"/>
              <a:gd name="connsiteX3" fmla="*/ 0 w 951094"/>
              <a:gd name="connsiteY3" fmla="*/ 949443 h 949443"/>
              <a:gd name="connsiteX4" fmla="*/ 0 w 951094"/>
              <a:gd name="connsiteY4" fmla="*/ 1160 h 949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094" h="949443">
                <a:moveTo>
                  <a:pt x="22977" y="0"/>
                </a:moveTo>
                <a:cubicBezTo>
                  <a:pt x="535562" y="0"/>
                  <a:pt x="951094" y="415532"/>
                  <a:pt x="951094" y="928117"/>
                </a:cubicBezTo>
                <a:lnTo>
                  <a:pt x="948944" y="949443"/>
                </a:lnTo>
                <a:lnTo>
                  <a:pt x="0" y="949443"/>
                </a:lnTo>
                <a:lnTo>
                  <a:pt x="0" y="1160"/>
                </a:lnTo>
                <a:close/>
              </a:path>
            </a:pathLst>
          </a:cu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Tree>
    <p:custDataLst>
      <p:tags r:id="rId6"/>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îşļíḓè"/>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添加标题</a:t>
            </a:r>
            <a:endParaRPr lang="zh-CN" altLang="en-US" dirty="0"/>
          </a:p>
        </p:txBody>
      </p:sp>
      <p:grpSp>
        <p:nvGrpSpPr>
          <p:cNvPr id="60" name="0e247652-1251-4baf-99a9-bba7de2ba453.source.7.zh-Hans"/>
          <p:cNvGrpSpPr/>
          <p:nvPr/>
        </p:nvGrpSpPr>
        <p:grpSpPr>
          <a:xfrm>
            <a:off x="660399" y="1130300"/>
            <a:ext cx="10858500" cy="5003800"/>
            <a:chOff x="660399" y="1130300"/>
            <a:chExt cx="10858500" cy="5003800"/>
          </a:xfrm>
        </p:grpSpPr>
        <p:grpSp>
          <p:nvGrpSpPr>
            <p:cNvPr id="59" name="组合 58"/>
            <p:cNvGrpSpPr/>
            <p:nvPr/>
          </p:nvGrpSpPr>
          <p:grpSpPr>
            <a:xfrm>
              <a:off x="701593" y="1775457"/>
              <a:ext cx="10817306" cy="4358643"/>
              <a:chOff x="701593" y="1775457"/>
              <a:chExt cx="10817306" cy="4358643"/>
            </a:xfrm>
          </p:grpSpPr>
          <p:sp>
            <p:nvSpPr>
              <p:cNvPr id="11" name="íśḷîḍè"/>
              <p:cNvSpPr/>
              <p:nvPr/>
            </p:nvSpPr>
            <p:spPr>
              <a:xfrm>
                <a:off x="2006908" y="3103376"/>
                <a:ext cx="2431190" cy="2322585"/>
              </a:xfrm>
              <a:prstGeom prst="arc">
                <a:avLst>
                  <a:gd name="adj1" fmla="val 10817055"/>
                  <a:gd name="adj2" fmla="val 0"/>
                </a:avLst>
              </a:prstGeom>
              <a:ln w="76200" cap="rnd">
                <a:solidFill>
                  <a:schemeClr val="tx2">
                    <a:alpha val="1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a:endParaRPr>
                  <a:cs typeface="+mn-ea"/>
                  <a:sym typeface="+mn-lt"/>
                </a:endParaRPr>
              </a:p>
            </p:txBody>
          </p:sp>
          <p:sp>
            <p:nvSpPr>
              <p:cNvPr id="12" name="ïṩļiḋe"/>
              <p:cNvSpPr/>
              <p:nvPr/>
            </p:nvSpPr>
            <p:spPr>
              <a:xfrm>
                <a:off x="4894051" y="3103376"/>
                <a:ext cx="2431190" cy="2322585"/>
              </a:xfrm>
              <a:prstGeom prst="arc">
                <a:avLst>
                  <a:gd name="adj1" fmla="val 10817055"/>
                  <a:gd name="adj2" fmla="val 0"/>
                </a:avLst>
              </a:prstGeom>
              <a:ln w="76200" cap="rnd">
                <a:solidFill>
                  <a:schemeClr val="tx2">
                    <a:alpha val="1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a:endParaRPr>
                  <a:cs typeface="+mn-ea"/>
                  <a:sym typeface="+mn-lt"/>
                </a:endParaRPr>
              </a:p>
            </p:txBody>
          </p:sp>
          <p:sp>
            <p:nvSpPr>
              <p:cNvPr id="13" name="ïṣľiḋè"/>
              <p:cNvSpPr/>
              <p:nvPr/>
            </p:nvSpPr>
            <p:spPr>
              <a:xfrm>
                <a:off x="7764138" y="3103376"/>
                <a:ext cx="2431190" cy="2322585"/>
              </a:xfrm>
              <a:prstGeom prst="arc">
                <a:avLst>
                  <a:gd name="adj1" fmla="val 10817055"/>
                  <a:gd name="adj2" fmla="val 0"/>
                </a:avLst>
              </a:prstGeom>
              <a:ln w="76200" cap="rnd">
                <a:solidFill>
                  <a:schemeClr val="tx2">
                    <a:alpha val="1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a:endParaRPr>
                  <a:cs typeface="+mn-ea"/>
                  <a:sym typeface="+mn-lt"/>
                </a:endParaRPr>
              </a:p>
            </p:txBody>
          </p:sp>
          <p:grpSp>
            <p:nvGrpSpPr>
              <p:cNvPr id="58" name="组合 57"/>
              <p:cNvGrpSpPr/>
              <p:nvPr/>
            </p:nvGrpSpPr>
            <p:grpSpPr>
              <a:xfrm>
                <a:off x="701593" y="1775457"/>
                <a:ext cx="10817306" cy="4358643"/>
                <a:chOff x="701593" y="1775457"/>
                <a:chExt cx="10817306" cy="4358643"/>
              </a:xfrm>
            </p:grpSpPr>
            <p:grpSp>
              <p:nvGrpSpPr>
                <p:cNvPr id="49" name="组合 48"/>
                <p:cNvGrpSpPr/>
                <p:nvPr/>
              </p:nvGrpSpPr>
              <p:grpSpPr>
                <a:xfrm>
                  <a:off x="701593" y="4134162"/>
                  <a:ext cx="2647142" cy="1999938"/>
                  <a:chOff x="701593" y="4134162"/>
                  <a:chExt cx="2647142" cy="1999938"/>
                </a:xfrm>
              </p:grpSpPr>
              <p:grpSp>
                <p:nvGrpSpPr>
                  <p:cNvPr id="42" name="组合 41"/>
                  <p:cNvGrpSpPr/>
                  <p:nvPr/>
                </p:nvGrpSpPr>
                <p:grpSpPr>
                  <a:xfrm>
                    <a:off x="701593" y="4960580"/>
                    <a:ext cx="2647142" cy="1173520"/>
                    <a:chOff x="701593" y="4960580"/>
                    <a:chExt cx="2647142" cy="1173520"/>
                  </a:xfrm>
                </p:grpSpPr>
                <p:sp>
                  <p:nvSpPr>
                    <p:cNvPr id="5" name="Bullet1"/>
                    <p:cNvSpPr txBox="1"/>
                    <p:nvPr/>
                  </p:nvSpPr>
                  <p:spPr>
                    <a:xfrm>
                      <a:off x="701593" y="4960580"/>
                      <a:ext cx="2647142" cy="543644"/>
                    </a:xfrm>
                    <a:prstGeom prst="rect">
                      <a:avLst/>
                    </a:prstGeom>
                    <a:noFill/>
                  </p:spPr>
                  <p:txBody>
                    <a:bodyPr wrap="square" lIns="90000" tIns="46800" rIns="90000" bIns="46800" anchor="b" anchorCtr="1">
                      <a:normAutofit/>
                    </a:bodyPr>
                    <a:lstStyle/>
                    <a:p>
                      <a:pPr algn="ctr"/>
                      <a:r>
                        <a:rPr lang="zh-CN" altLang="en-US" b="1" dirty="0">
                          <a:cs typeface="+mn-ea"/>
                          <a:sym typeface="+mn-lt"/>
                        </a:rPr>
                        <a:t>单击此处添加标题</a:t>
                      </a:r>
                      <a:endParaRPr lang="zh-CN" altLang="en-US" b="1" dirty="0">
                        <a:cs typeface="+mn-ea"/>
                        <a:sym typeface="+mn-lt"/>
                      </a:endParaRPr>
                    </a:p>
                  </p:txBody>
                </p:sp>
                <p:sp>
                  <p:nvSpPr>
                    <p:cNvPr id="6" name="Text1"/>
                    <p:cNvSpPr txBox="1"/>
                    <p:nvPr/>
                  </p:nvSpPr>
                  <p:spPr>
                    <a:xfrm>
                      <a:off x="701593" y="5503921"/>
                      <a:ext cx="2647142" cy="630179"/>
                    </a:xfrm>
                    <a:prstGeom prst="rect">
                      <a:avLst/>
                    </a:prstGeom>
                    <a:noFill/>
                  </p:spPr>
                  <p:txBody>
                    <a:bodyPr wrap="square" lIns="90000" tIns="46800" rIns="90000" bIns="46800" anchor="t" anchorCtr="1">
                      <a:normAutofit/>
                    </a:bodyPr>
                    <a:lstStyle/>
                    <a:p>
                      <a:pPr algn="ctr">
                        <a:lnSpc>
                          <a:spcPct val="120000"/>
                        </a:lnSpc>
                      </a:pPr>
                      <a:r>
                        <a:rPr lang="zh-CN" altLang="en-US" sz="1200" dirty="0">
                          <a:cs typeface="+mn-ea"/>
                          <a:sym typeface="+mn-lt"/>
                        </a:rPr>
                        <a:t>请输入文本内容</a:t>
                      </a:r>
                      <a:endParaRPr lang="zh-CN" altLang="en-US" sz="1200" dirty="0">
                        <a:cs typeface="+mn-ea"/>
                        <a:sym typeface="+mn-lt"/>
                      </a:endParaRPr>
                    </a:p>
                  </p:txBody>
                </p:sp>
              </p:grpSp>
              <p:grpSp>
                <p:nvGrpSpPr>
                  <p:cNvPr id="35" name="组合 34"/>
                  <p:cNvGrpSpPr/>
                  <p:nvPr/>
                </p:nvGrpSpPr>
                <p:grpSpPr>
                  <a:xfrm>
                    <a:off x="1622828" y="4134162"/>
                    <a:ext cx="804672" cy="804672"/>
                    <a:chOff x="1369077" y="4134162"/>
                    <a:chExt cx="804672" cy="804672"/>
                  </a:xfrm>
                </p:grpSpPr>
                <p:sp>
                  <p:nvSpPr>
                    <p:cNvPr id="26" name="îŝļîdê"/>
                    <p:cNvSpPr/>
                    <p:nvPr/>
                  </p:nvSpPr>
                  <p:spPr bwMode="auto">
                    <a:xfrm>
                      <a:off x="1369077" y="4134162"/>
                      <a:ext cx="804672" cy="804672"/>
                    </a:xfrm>
                    <a:prstGeom prst="ellipse">
                      <a:avLst/>
                    </a:prstGeom>
                    <a:solidFill>
                      <a:schemeClr val="accent2">
                        <a:alpha val="80000"/>
                      </a:schemeClr>
                    </a:solidFill>
                    <a:ln w="9525">
                      <a:noFill/>
                      <a:round/>
                    </a:ln>
                  </p:spPr>
                  <p:txBody>
                    <a:bodyPr lIns="0" tIns="0" rIns="0" bIns="0" anchor="ctr"/>
                    <a:lstStyle/>
                    <a:p>
                      <a:pPr algn="ctr"/>
                      <a:endParaRPr>
                        <a:cs typeface="+mn-ea"/>
                        <a:sym typeface="+mn-lt"/>
                      </a:endParaRPr>
                    </a:p>
                  </p:txBody>
                </p:sp>
                <p:sp>
                  <p:nvSpPr>
                    <p:cNvPr id="31" name="Icon1"/>
                    <p:cNvSpPr/>
                    <p:nvPr/>
                  </p:nvSpPr>
                  <p:spPr bwMode="auto">
                    <a:xfrm>
                      <a:off x="1601162" y="4371327"/>
                      <a:ext cx="369182" cy="352088"/>
                    </a:xfrm>
                    <a:custGeom>
                      <a:avLst/>
                      <a:gdLst>
                        <a:gd name="connsiteX0" fmla="*/ 315778 w 607639"/>
                        <a:gd name="connsiteY0" fmla="*/ 173080 h 579502"/>
                        <a:gd name="connsiteX1" fmla="*/ 315778 w 607639"/>
                        <a:gd name="connsiteY1" fmla="*/ 266058 h 579502"/>
                        <a:gd name="connsiteX2" fmla="*/ 303493 w 607639"/>
                        <a:gd name="connsiteY2" fmla="*/ 278325 h 579502"/>
                        <a:gd name="connsiteX3" fmla="*/ 210375 w 607639"/>
                        <a:gd name="connsiteY3" fmla="*/ 278325 h 579502"/>
                        <a:gd name="connsiteX4" fmla="*/ 303493 w 607639"/>
                        <a:gd name="connsiteY4" fmla="*/ 359925 h 579502"/>
                        <a:gd name="connsiteX5" fmla="*/ 397500 w 607639"/>
                        <a:gd name="connsiteY5" fmla="*/ 266058 h 579502"/>
                        <a:gd name="connsiteX6" fmla="*/ 315778 w 607639"/>
                        <a:gd name="connsiteY6" fmla="*/ 173080 h 579502"/>
                        <a:gd name="connsiteX7" fmla="*/ 249814 w 607639"/>
                        <a:gd name="connsiteY7" fmla="*/ 160816 h 579502"/>
                        <a:gd name="connsiteX8" fmla="*/ 198110 w 607639"/>
                        <a:gd name="connsiteY8" fmla="*/ 212449 h 579502"/>
                        <a:gd name="connsiteX9" fmla="*/ 249814 w 607639"/>
                        <a:gd name="connsiteY9" fmla="*/ 212449 h 579502"/>
                        <a:gd name="connsiteX10" fmla="*/ 303493 w 607639"/>
                        <a:gd name="connsiteY10" fmla="*/ 147835 h 579502"/>
                        <a:gd name="connsiteX11" fmla="*/ 421981 w 607639"/>
                        <a:gd name="connsiteY11" fmla="*/ 266058 h 579502"/>
                        <a:gd name="connsiteX12" fmla="*/ 303493 w 607639"/>
                        <a:gd name="connsiteY12" fmla="*/ 384370 h 579502"/>
                        <a:gd name="connsiteX13" fmla="*/ 185093 w 607639"/>
                        <a:gd name="connsiteY13" fmla="*/ 266058 h 579502"/>
                        <a:gd name="connsiteX14" fmla="*/ 197289 w 607639"/>
                        <a:gd name="connsiteY14" fmla="*/ 253880 h 579502"/>
                        <a:gd name="connsiteX15" fmla="*/ 291297 w 607639"/>
                        <a:gd name="connsiteY15" fmla="*/ 253880 h 579502"/>
                        <a:gd name="connsiteX16" fmla="*/ 291297 w 607639"/>
                        <a:gd name="connsiteY16" fmla="*/ 160013 h 579502"/>
                        <a:gd name="connsiteX17" fmla="*/ 303493 w 607639"/>
                        <a:gd name="connsiteY17" fmla="*/ 147835 h 579502"/>
                        <a:gd name="connsiteX18" fmla="*/ 262095 w 607639"/>
                        <a:gd name="connsiteY18" fmla="*/ 135133 h 579502"/>
                        <a:gd name="connsiteX19" fmla="*/ 274287 w 607639"/>
                        <a:gd name="connsiteY19" fmla="*/ 147397 h 579502"/>
                        <a:gd name="connsiteX20" fmla="*/ 274287 w 607639"/>
                        <a:gd name="connsiteY20" fmla="*/ 224713 h 579502"/>
                        <a:gd name="connsiteX21" fmla="*/ 262095 w 607639"/>
                        <a:gd name="connsiteY21" fmla="*/ 236888 h 579502"/>
                        <a:gd name="connsiteX22" fmla="*/ 184672 w 607639"/>
                        <a:gd name="connsiteY22" fmla="*/ 236888 h 579502"/>
                        <a:gd name="connsiteX23" fmla="*/ 172391 w 607639"/>
                        <a:gd name="connsiteY23" fmla="*/ 224713 h 579502"/>
                        <a:gd name="connsiteX24" fmla="*/ 262095 w 607639"/>
                        <a:gd name="connsiteY24" fmla="*/ 135133 h 579502"/>
                        <a:gd name="connsiteX25" fmla="*/ 58120 w 607639"/>
                        <a:gd name="connsiteY25" fmla="*/ 108514 h 579502"/>
                        <a:gd name="connsiteX26" fmla="*/ 58120 w 607639"/>
                        <a:gd name="connsiteY26" fmla="*/ 413970 h 579502"/>
                        <a:gd name="connsiteX27" fmla="*/ 549430 w 607639"/>
                        <a:gd name="connsiteY27" fmla="*/ 413970 h 579502"/>
                        <a:gd name="connsiteX28" fmla="*/ 549430 w 607639"/>
                        <a:gd name="connsiteY28" fmla="*/ 108514 h 579502"/>
                        <a:gd name="connsiteX29" fmla="*/ 27236 w 607639"/>
                        <a:gd name="connsiteY29" fmla="*/ 56079 h 579502"/>
                        <a:gd name="connsiteX30" fmla="*/ 27236 w 607639"/>
                        <a:gd name="connsiteY30" fmla="*/ 81319 h 579502"/>
                        <a:gd name="connsiteX31" fmla="*/ 580403 w 607639"/>
                        <a:gd name="connsiteY31" fmla="*/ 81319 h 579502"/>
                        <a:gd name="connsiteX32" fmla="*/ 580403 w 607639"/>
                        <a:gd name="connsiteY32" fmla="*/ 56079 h 579502"/>
                        <a:gd name="connsiteX33" fmla="*/ 303775 w 607639"/>
                        <a:gd name="connsiteY33" fmla="*/ 0 h 579502"/>
                        <a:gd name="connsiteX34" fmla="*/ 317393 w 607639"/>
                        <a:gd name="connsiteY34" fmla="*/ 13597 h 579502"/>
                        <a:gd name="connsiteX35" fmla="*/ 317393 w 607639"/>
                        <a:gd name="connsiteY35" fmla="*/ 28884 h 579502"/>
                        <a:gd name="connsiteX36" fmla="*/ 580403 w 607639"/>
                        <a:gd name="connsiteY36" fmla="*/ 28884 h 579502"/>
                        <a:gd name="connsiteX37" fmla="*/ 607639 w 607639"/>
                        <a:gd name="connsiteY37" fmla="*/ 56079 h 579502"/>
                        <a:gd name="connsiteX38" fmla="*/ 607639 w 607639"/>
                        <a:gd name="connsiteY38" fmla="*/ 81319 h 579502"/>
                        <a:gd name="connsiteX39" fmla="*/ 580403 w 607639"/>
                        <a:gd name="connsiteY39" fmla="*/ 108514 h 579502"/>
                        <a:gd name="connsiteX40" fmla="*/ 576665 w 607639"/>
                        <a:gd name="connsiteY40" fmla="*/ 108514 h 579502"/>
                        <a:gd name="connsiteX41" fmla="*/ 576665 w 607639"/>
                        <a:gd name="connsiteY41" fmla="*/ 413970 h 579502"/>
                        <a:gd name="connsiteX42" fmla="*/ 549430 w 607639"/>
                        <a:gd name="connsiteY42" fmla="*/ 441165 h 579502"/>
                        <a:gd name="connsiteX43" fmla="*/ 317393 w 607639"/>
                        <a:gd name="connsiteY43" fmla="*/ 441165 h 579502"/>
                        <a:gd name="connsiteX44" fmla="*/ 317393 w 607639"/>
                        <a:gd name="connsiteY44" fmla="*/ 481069 h 579502"/>
                        <a:gd name="connsiteX45" fmla="*/ 418236 w 607639"/>
                        <a:gd name="connsiteY45" fmla="*/ 554923 h 579502"/>
                        <a:gd name="connsiteX46" fmla="*/ 421173 w 607639"/>
                        <a:gd name="connsiteY46" fmla="*/ 573942 h 579502"/>
                        <a:gd name="connsiteX47" fmla="*/ 410225 w 607639"/>
                        <a:gd name="connsiteY47" fmla="*/ 579452 h 579502"/>
                        <a:gd name="connsiteX48" fmla="*/ 402215 w 607639"/>
                        <a:gd name="connsiteY48" fmla="*/ 576874 h 579502"/>
                        <a:gd name="connsiteX49" fmla="*/ 317393 w 607639"/>
                        <a:gd name="connsiteY49" fmla="*/ 514752 h 579502"/>
                        <a:gd name="connsiteX50" fmla="*/ 317393 w 607639"/>
                        <a:gd name="connsiteY50" fmla="*/ 565854 h 579502"/>
                        <a:gd name="connsiteX51" fmla="*/ 303775 w 607639"/>
                        <a:gd name="connsiteY51" fmla="*/ 579452 h 579502"/>
                        <a:gd name="connsiteX52" fmla="*/ 290157 w 607639"/>
                        <a:gd name="connsiteY52" fmla="*/ 565854 h 579502"/>
                        <a:gd name="connsiteX53" fmla="*/ 290157 w 607639"/>
                        <a:gd name="connsiteY53" fmla="*/ 514752 h 579502"/>
                        <a:gd name="connsiteX54" fmla="*/ 205424 w 607639"/>
                        <a:gd name="connsiteY54" fmla="*/ 576874 h 579502"/>
                        <a:gd name="connsiteX55" fmla="*/ 186377 w 607639"/>
                        <a:gd name="connsiteY55" fmla="*/ 573942 h 579502"/>
                        <a:gd name="connsiteX56" fmla="*/ 189314 w 607639"/>
                        <a:gd name="connsiteY56" fmla="*/ 554923 h 579502"/>
                        <a:gd name="connsiteX57" fmla="*/ 290157 w 607639"/>
                        <a:gd name="connsiteY57" fmla="*/ 481069 h 579502"/>
                        <a:gd name="connsiteX58" fmla="*/ 290157 w 607639"/>
                        <a:gd name="connsiteY58" fmla="*/ 441165 h 579502"/>
                        <a:gd name="connsiteX59" fmla="*/ 58120 w 607639"/>
                        <a:gd name="connsiteY59" fmla="*/ 441165 h 579502"/>
                        <a:gd name="connsiteX60" fmla="*/ 30885 w 607639"/>
                        <a:gd name="connsiteY60" fmla="*/ 413970 h 579502"/>
                        <a:gd name="connsiteX61" fmla="*/ 30885 w 607639"/>
                        <a:gd name="connsiteY61" fmla="*/ 108514 h 579502"/>
                        <a:gd name="connsiteX62" fmla="*/ 27236 w 607639"/>
                        <a:gd name="connsiteY62" fmla="*/ 108514 h 579502"/>
                        <a:gd name="connsiteX63" fmla="*/ 0 w 607639"/>
                        <a:gd name="connsiteY63" fmla="*/ 81319 h 579502"/>
                        <a:gd name="connsiteX64" fmla="*/ 0 w 607639"/>
                        <a:gd name="connsiteY64" fmla="*/ 56079 h 579502"/>
                        <a:gd name="connsiteX65" fmla="*/ 27236 w 607639"/>
                        <a:gd name="connsiteY65" fmla="*/ 28884 h 579502"/>
                        <a:gd name="connsiteX66" fmla="*/ 290157 w 607639"/>
                        <a:gd name="connsiteY66" fmla="*/ 28884 h 579502"/>
                        <a:gd name="connsiteX67" fmla="*/ 290157 w 607639"/>
                        <a:gd name="connsiteY67" fmla="*/ 13597 h 579502"/>
                        <a:gd name="connsiteX68" fmla="*/ 303775 w 607639"/>
                        <a:gd name="connsiteY68" fmla="*/ 0 h 57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39" h="579502">
                          <a:moveTo>
                            <a:pt x="315778" y="173080"/>
                          </a:moveTo>
                          <a:lnTo>
                            <a:pt x="315778" y="266058"/>
                          </a:lnTo>
                          <a:cubicBezTo>
                            <a:pt x="315778" y="272814"/>
                            <a:pt x="310258" y="278325"/>
                            <a:pt x="303493" y="278325"/>
                          </a:cubicBezTo>
                          <a:lnTo>
                            <a:pt x="210375" y="278325"/>
                          </a:lnTo>
                          <a:cubicBezTo>
                            <a:pt x="216429" y="324281"/>
                            <a:pt x="255866" y="359925"/>
                            <a:pt x="303493" y="359925"/>
                          </a:cubicBezTo>
                          <a:cubicBezTo>
                            <a:pt x="355303" y="359925"/>
                            <a:pt x="397500" y="317792"/>
                            <a:pt x="397500" y="266058"/>
                          </a:cubicBezTo>
                          <a:cubicBezTo>
                            <a:pt x="397500" y="218502"/>
                            <a:pt x="361802" y="179124"/>
                            <a:pt x="315778" y="173080"/>
                          </a:cubicBezTo>
                          <a:close/>
                          <a:moveTo>
                            <a:pt x="249814" y="160816"/>
                          </a:moveTo>
                          <a:cubicBezTo>
                            <a:pt x="223740" y="165793"/>
                            <a:pt x="203093" y="186410"/>
                            <a:pt x="198110" y="212449"/>
                          </a:cubicBezTo>
                          <a:lnTo>
                            <a:pt x="249814" y="212449"/>
                          </a:lnTo>
                          <a:close/>
                          <a:moveTo>
                            <a:pt x="303493" y="147835"/>
                          </a:moveTo>
                          <a:cubicBezTo>
                            <a:pt x="368835" y="147835"/>
                            <a:pt x="421981" y="200902"/>
                            <a:pt x="421981" y="266058"/>
                          </a:cubicBezTo>
                          <a:cubicBezTo>
                            <a:pt x="421981" y="331303"/>
                            <a:pt x="368835" y="384370"/>
                            <a:pt x="303493" y="384370"/>
                          </a:cubicBezTo>
                          <a:cubicBezTo>
                            <a:pt x="238239" y="384370"/>
                            <a:pt x="185093" y="331303"/>
                            <a:pt x="185093" y="266058"/>
                          </a:cubicBezTo>
                          <a:cubicBezTo>
                            <a:pt x="185093" y="259303"/>
                            <a:pt x="190523" y="253880"/>
                            <a:pt x="197289" y="253880"/>
                          </a:cubicBezTo>
                          <a:lnTo>
                            <a:pt x="291297" y="253880"/>
                          </a:lnTo>
                          <a:lnTo>
                            <a:pt x="291297" y="160013"/>
                          </a:lnTo>
                          <a:cubicBezTo>
                            <a:pt x="291297" y="153257"/>
                            <a:pt x="296727" y="147835"/>
                            <a:pt x="303493" y="147835"/>
                          </a:cubicBezTo>
                          <a:close/>
                          <a:moveTo>
                            <a:pt x="262095" y="135133"/>
                          </a:moveTo>
                          <a:cubicBezTo>
                            <a:pt x="268859" y="135133"/>
                            <a:pt x="274287" y="140643"/>
                            <a:pt x="274287" y="147397"/>
                          </a:cubicBezTo>
                          <a:lnTo>
                            <a:pt x="274287" y="224713"/>
                          </a:lnTo>
                          <a:cubicBezTo>
                            <a:pt x="274287" y="231467"/>
                            <a:pt x="268859" y="236888"/>
                            <a:pt x="262095" y="236888"/>
                          </a:cubicBezTo>
                          <a:lnTo>
                            <a:pt x="184672" y="236888"/>
                          </a:lnTo>
                          <a:cubicBezTo>
                            <a:pt x="177909" y="236888"/>
                            <a:pt x="172391" y="231467"/>
                            <a:pt x="172391" y="224713"/>
                          </a:cubicBezTo>
                          <a:cubicBezTo>
                            <a:pt x="172391" y="175302"/>
                            <a:pt x="212616" y="135133"/>
                            <a:pt x="262095" y="135133"/>
                          </a:cubicBezTo>
                          <a:close/>
                          <a:moveTo>
                            <a:pt x="58120" y="108514"/>
                          </a:moveTo>
                          <a:lnTo>
                            <a:pt x="58120" y="413970"/>
                          </a:lnTo>
                          <a:lnTo>
                            <a:pt x="549430" y="413970"/>
                          </a:lnTo>
                          <a:lnTo>
                            <a:pt x="549430" y="108514"/>
                          </a:lnTo>
                          <a:close/>
                          <a:moveTo>
                            <a:pt x="27236" y="56079"/>
                          </a:moveTo>
                          <a:lnTo>
                            <a:pt x="27236" y="81319"/>
                          </a:lnTo>
                          <a:lnTo>
                            <a:pt x="580403" y="81319"/>
                          </a:lnTo>
                          <a:lnTo>
                            <a:pt x="580403" y="56079"/>
                          </a:lnTo>
                          <a:close/>
                          <a:moveTo>
                            <a:pt x="303775" y="0"/>
                          </a:moveTo>
                          <a:cubicBezTo>
                            <a:pt x="311341" y="0"/>
                            <a:pt x="317393" y="6132"/>
                            <a:pt x="317393" y="13597"/>
                          </a:cubicBezTo>
                          <a:lnTo>
                            <a:pt x="317393" y="28884"/>
                          </a:lnTo>
                          <a:lnTo>
                            <a:pt x="580403" y="28884"/>
                          </a:lnTo>
                          <a:cubicBezTo>
                            <a:pt x="595356" y="28884"/>
                            <a:pt x="607639" y="41148"/>
                            <a:pt x="607639" y="56079"/>
                          </a:cubicBezTo>
                          <a:lnTo>
                            <a:pt x="607639" y="81319"/>
                          </a:lnTo>
                          <a:cubicBezTo>
                            <a:pt x="607639" y="96338"/>
                            <a:pt x="595356" y="108514"/>
                            <a:pt x="580403" y="108514"/>
                          </a:cubicBezTo>
                          <a:lnTo>
                            <a:pt x="576665" y="108514"/>
                          </a:lnTo>
                          <a:lnTo>
                            <a:pt x="576665" y="413970"/>
                          </a:lnTo>
                          <a:cubicBezTo>
                            <a:pt x="576665" y="428990"/>
                            <a:pt x="564472" y="441165"/>
                            <a:pt x="549430" y="441165"/>
                          </a:cubicBezTo>
                          <a:lnTo>
                            <a:pt x="317393" y="441165"/>
                          </a:lnTo>
                          <a:lnTo>
                            <a:pt x="317393" y="481069"/>
                          </a:lnTo>
                          <a:lnTo>
                            <a:pt x="418236" y="554923"/>
                          </a:lnTo>
                          <a:cubicBezTo>
                            <a:pt x="424377" y="559366"/>
                            <a:pt x="425623" y="567898"/>
                            <a:pt x="421173" y="573942"/>
                          </a:cubicBezTo>
                          <a:cubicBezTo>
                            <a:pt x="418503" y="577585"/>
                            <a:pt x="414409" y="579452"/>
                            <a:pt x="410225" y="579452"/>
                          </a:cubicBezTo>
                          <a:cubicBezTo>
                            <a:pt x="407466" y="579452"/>
                            <a:pt x="404618" y="578652"/>
                            <a:pt x="402215" y="576874"/>
                          </a:cubicBezTo>
                          <a:lnTo>
                            <a:pt x="317393" y="514752"/>
                          </a:lnTo>
                          <a:lnTo>
                            <a:pt x="317393" y="565854"/>
                          </a:lnTo>
                          <a:cubicBezTo>
                            <a:pt x="317393" y="573408"/>
                            <a:pt x="311341" y="579452"/>
                            <a:pt x="303775" y="579452"/>
                          </a:cubicBezTo>
                          <a:cubicBezTo>
                            <a:pt x="296299" y="579452"/>
                            <a:pt x="290157" y="573408"/>
                            <a:pt x="290157" y="565854"/>
                          </a:cubicBezTo>
                          <a:lnTo>
                            <a:pt x="290157" y="514752"/>
                          </a:lnTo>
                          <a:lnTo>
                            <a:pt x="205424" y="576874"/>
                          </a:lnTo>
                          <a:cubicBezTo>
                            <a:pt x="199372" y="581318"/>
                            <a:pt x="190827" y="579985"/>
                            <a:pt x="186377" y="573942"/>
                          </a:cubicBezTo>
                          <a:cubicBezTo>
                            <a:pt x="181927" y="567898"/>
                            <a:pt x="183262" y="559366"/>
                            <a:pt x="189314" y="554923"/>
                          </a:cubicBezTo>
                          <a:lnTo>
                            <a:pt x="290157" y="481069"/>
                          </a:lnTo>
                          <a:lnTo>
                            <a:pt x="290157" y="441165"/>
                          </a:lnTo>
                          <a:lnTo>
                            <a:pt x="58120" y="441165"/>
                          </a:lnTo>
                          <a:cubicBezTo>
                            <a:pt x="43167" y="441165"/>
                            <a:pt x="30885" y="428990"/>
                            <a:pt x="30885" y="413970"/>
                          </a:cubicBezTo>
                          <a:lnTo>
                            <a:pt x="30885" y="108514"/>
                          </a:lnTo>
                          <a:lnTo>
                            <a:pt x="27236" y="108514"/>
                          </a:lnTo>
                          <a:cubicBezTo>
                            <a:pt x="12194" y="108514"/>
                            <a:pt x="0" y="96338"/>
                            <a:pt x="0" y="81319"/>
                          </a:cubicBezTo>
                          <a:lnTo>
                            <a:pt x="0" y="56079"/>
                          </a:lnTo>
                          <a:cubicBezTo>
                            <a:pt x="0" y="41148"/>
                            <a:pt x="12194" y="28884"/>
                            <a:pt x="27236" y="28884"/>
                          </a:cubicBezTo>
                          <a:lnTo>
                            <a:pt x="290157" y="28884"/>
                          </a:lnTo>
                          <a:lnTo>
                            <a:pt x="290157" y="13597"/>
                          </a:lnTo>
                          <a:cubicBezTo>
                            <a:pt x="290157" y="6132"/>
                            <a:pt x="296299" y="0"/>
                            <a:pt x="303775" y="0"/>
                          </a:cubicBezTo>
                          <a:close/>
                        </a:path>
                      </a:pathLst>
                    </a:custGeom>
                    <a:solidFill>
                      <a:srgbClr val="FFFFFF"/>
                    </a:solidFill>
                    <a:ln>
                      <a:noFill/>
                    </a:ln>
                  </p:spPr>
                  <p:txBody>
                    <a:bodyPr lIns="0" tIns="0" rIns="0" bIns="0" anchor="ctr"/>
                    <a:lstStyle/>
                    <a:p>
                      <a:pPr algn="ctr"/>
                      <a:endParaRPr>
                        <a:cs typeface="+mn-ea"/>
                        <a:sym typeface="+mn-lt"/>
                      </a:endParaRPr>
                    </a:p>
                  </p:txBody>
                </p:sp>
              </p:grpSp>
            </p:grpSp>
            <p:grpSp>
              <p:nvGrpSpPr>
                <p:cNvPr id="50" name="组合 49"/>
                <p:cNvGrpSpPr/>
                <p:nvPr/>
              </p:nvGrpSpPr>
              <p:grpSpPr>
                <a:xfrm>
                  <a:off x="1782343" y="1775457"/>
                  <a:ext cx="2880320" cy="1927158"/>
                  <a:chOff x="1782343" y="1775457"/>
                  <a:chExt cx="2880320" cy="1927158"/>
                </a:xfrm>
              </p:grpSpPr>
              <p:sp>
                <p:nvSpPr>
                  <p:cNvPr id="14" name="Icon2"/>
                  <p:cNvSpPr/>
                  <p:nvPr/>
                </p:nvSpPr>
                <p:spPr bwMode="auto">
                  <a:xfrm>
                    <a:off x="3062198" y="3360631"/>
                    <a:ext cx="320610" cy="341984"/>
                  </a:xfrm>
                  <a:custGeom>
                    <a:avLst/>
                    <a:gdLst>
                      <a:gd name="T0" fmla="*/ 41 w 45"/>
                      <a:gd name="T1" fmla="*/ 48 h 48"/>
                      <a:gd name="T2" fmla="*/ 0 w 45"/>
                      <a:gd name="T3" fmla="*/ 44 h 48"/>
                      <a:gd name="T4" fmla="*/ 3 w 45"/>
                      <a:gd name="T5" fmla="*/ 7 h 48"/>
                      <a:gd name="T6" fmla="*/ 7 w 45"/>
                      <a:gd name="T7" fmla="*/ 4 h 48"/>
                      <a:gd name="T8" fmla="*/ 13 w 45"/>
                      <a:gd name="T9" fmla="*/ 0 h 48"/>
                      <a:gd name="T10" fmla="*/ 17 w 45"/>
                      <a:gd name="T11" fmla="*/ 7 h 48"/>
                      <a:gd name="T12" fmla="*/ 27 w 45"/>
                      <a:gd name="T13" fmla="*/ 4 h 48"/>
                      <a:gd name="T14" fmla="*/ 33 w 45"/>
                      <a:gd name="T15" fmla="*/ 0 h 48"/>
                      <a:gd name="T16" fmla="*/ 38 w 45"/>
                      <a:gd name="T17" fmla="*/ 7 h 48"/>
                      <a:gd name="T18" fmla="*/ 45 w 45"/>
                      <a:gd name="T19" fmla="*/ 10 h 48"/>
                      <a:gd name="T20" fmla="*/ 11 w 45"/>
                      <a:gd name="T21" fmla="*/ 25 h 48"/>
                      <a:gd name="T22" fmla="*/ 3 w 45"/>
                      <a:gd name="T23" fmla="*/ 17 h 48"/>
                      <a:gd name="T24" fmla="*/ 11 w 45"/>
                      <a:gd name="T25" fmla="*/ 25 h 48"/>
                      <a:gd name="T26" fmla="*/ 11 w 45"/>
                      <a:gd name="T27" fmla="*/ 26 h 48"/>
                      <a:gd name="T28" fmla="*/ 3 w 45"/>
                      <a:gd name="T29" fmla="*/ 35 h 48"/>
                      <a:gd name="T30" fmla="*/ 11 w 45"/>
                      <a:gd name="T31" fmla="*/ 44 h 48"/>
                      <a:gd name="T32" fmla="*/ 3 w 45"/>
                      <a:gd name="T33" fmla="*/ 37 h 48"/>
                      <a:gd name="T34" fmla="*/ 11 w 45"/>
                      <a:gd name="T35" fmla="*/ 44 h 48"/>
                      <a:gd name="T36" fmla="*/ 13 w 45"/>
                      <a:gd name="T37" fmla="*/ 3 h 48"/>
                      <a:gd name="T38" fmla="*/ 10 w 45"/>
                      <a:gd name="T39" fmla="*/ 4 h 48"/>
                      <a:gd name="T40" fmla="*/ 11 w 45"/>
                      <a:gd name="T41" fmla="*/ 13 h 48"/>
                      <a:gd name="T42" fmla="*/ 14 w 45"/>
                      <a:gd name="T43" fmla="*/ 12 h 48"/>
                      <a:gd name="T44" fmla="*/ 21 w 45"/>
                      <a:gd name="T45" fmla="*/ 25 h 48"/>
                      <a:gd name="T46" fmla="*/ 13 w 45"/>
                      <a:gd name="T47" fmla="*/ 17 h 48"/>
                      <a:gd name="T48" fmla="*/ 21 w 45"/>
                      <a:gd name="T49" fmla="*/ 25 h 48"/>
                      <a:gd name="T50" fmla="*/ 21 w 45"/>
                      <a:gd name="T51" fmla="*/ 26 h 48"/>
                      <a:gd name="T52" fmla="*/ 13 w 45"/>
                      <a:gd name="T53" fmla="*/ 35 h 48"/>
                      <a:gd name="T54" fmla="*/ 21 w 45"/>
                      <a:gd name="T55" fmla="*/ 44 h 48"/>
                      <a:gd name="T56" fmla="*/ 13 w 45"/>
                      <a:gd name="T57" fmla="*/ 37 h 48"/>
                      <a:gd name="T58" fmla="*/ 21 w 45"/>
                      <a:gd name="T59" fmla="*/ 44 h 48"/>
                      <a:gd name="T60" fmla="*/ 32 w 45"/>
                      <a:gd name="T61" fmla="*/ 17 h 48"/>
                      <a:gd name="T62" fmla="*/ 23 w 45"/>
                      <a:gd name="T63" fmla="*/ 25 h 48"/>
                      <a:gd name="T64" fmla="*/ 32 w 45"/>
                      <a:gd name="T65" fmla="*/ 35 h 48"/>
                      <a:gd name="T66" fmla="*/ 23 w 45"/>
                      <a:gd name="T67" fmla="*/ 26 h 48"/>
                      <a:gd name="T68" fmla="*/ 32 w 45"/>
                      <a:gd name="T69" fmla="*/ 35 h 48"/>
                      <a:gd name="T70" fmla="*/ 32 w 45"/>
                      <a:gd name="T71" fmla="*/ 37 h 48"/>
                      <a:gd name="T72" fmla="*/ 23 w 45"/>
                      <a:gd name="T73" fmla="*/ 44 h 48"/>
                      <a:gd name="T74" fmla="*/ 34 w 45"/>
                      <a:gd name="T75" fmla="*/ 4 h 48"/>
                      <a:gd name="T76" fmla="*/ 32 w 45"/>
                      <a:gd name="T77" fmla="*/ 3 h 48"/>
                      <a:gd name="T78" fmla="*/ 31 w 45"/>
                      <a:gd name="T79" fmla="*/ 12 h 48"/>
                      <a:gd name="T80" fmla="*/ 33 w 45"/>
                      <a:gd name="T81" fmla="*/ 13 h 48"/>
                      <a:gd name="T82" fmla="*/ 34 w 45"/>
                      <a:gd name="T83" fmla="*/ 4 h 48"/>
                      <a:gd name="T84" fmla="*/ 41 w 45"/>
                      <a:gd name="T85" fmla="*/ 17 h 48"/>
                      <a:gd name="T86" fmla="*/ 33 w 45"/>
                      <a:gd name="T87" fmla="*/ 25 h 48"/>
                      <a:gd name="T88" fmla="*/ 41 w 45"/>
                      <a:gd name="T89" fmla="*/ 35 h 48"/>
                      <a:gd name="T90" fmla="*/ 33 w 45"/>
                      <a:gd name="T91" fmla="*/ 26 h 48"/>
                      <a:gd name="T92" fmla="*/ 41 w 45"/>
                      <a:gd name="T93" fmla="*/ 35 h 48"/>
                      <a:gd name="T94" fmla="*/ 41 w 45"/>
                      <a:gd name="T95" fmla="*/ 37 h 48"/>
                      <a:gd name="T96" fmla="*/ 33 w 45"/>
                      <a:gd name="T9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 h="48">
                        <a:moveTo>
                          <a:pt x="45" y="44"/>
                        </a:moveTo>
                        <a:cubicBezTo>
                          <a:pt x="45" y="46"/>
                          <a:pt x="43" y="48"/>
                          <a:pt x="41" y="48"/>
                        </a:cubicBezTo>
                        <a:cubicBezTo>
                          <a:pt x="3" y="48"/>
                          <a:pt x="3" y="48"/>
                          <a:pt x="3" y="48"/>
                        </a:cubicBezTo>
                        <a:cubicBezTo>
                          <a:pt x="1" y="48"/>
                          <a:pt x="0" y="46"/>
                          <a:pt x="0" y="44"/>
                        </a:cubicBezTo>
                        <a:cubicBezTo>
                          <a:pt x="0" y="10"/>
                          <a:pt x="0" y="10"/>
                          <a:pt x="0" y="10"/>
                        </a:cubicBezTo>
                        <a:cubicBezTo>
                          <a:pt x="0" y="8"/>
                          <a:pt x="1" y="7"/>
                          <a:pt x="3" y="7"/>
                        </a:cubicBezTo>
                        <a:cubicBezTo>
                          <a:pt x="7" y="7"/>
                          <a:pt x="7" y="7"/>
                          <a:pt x="7" y="7"/>
                        </a:cubicBezTo>
                        <a:cubicBezTo>
                          <a:pt x="7" y="4"/>
                          <a:pt x="7" y="4"/>
                          <a:pt x="7" y="4"/>
                        </a:cubicBezTo>
                        <a:cubicBezTo>
                          <a:pt x="7" y="2"/>
                          <a:pt x="9" y="0"/>
                          <a:pt x="11" y="0"/>
                        </a:cubicBezTo>
                        <a:cubicBezTo>
                          <a:pt x="13" y="0"/>
                          <a:pt x="13" y="0"/>
                          <a:pt x="13" y="0"/>
                        </a:cubicBezTo>
                        <a:cubicBezTo>
                          <a:pt x="15" y="0"/>
                          <a:pt x="17" y="2"/>
                          <a:pt x="17" y="4"/>
                        </a:cubicBezTo>
                        <a:cubicBezTo>
                          <a:pt x="17" y="7"/>
                          <a:pt x="17" y="7"/>
                          <a:pt x="17" y="7"/>
                        </a:cubicBezTo>
                        <a:cubicBezTo>
                          <a:pt x="27" y="7"/>
                          <a:pt x="27" y="7"/>
                          <a:pt x="27" y="7"/>
                        </a:cubicBezTo>
                        <a:cubicBezTo>
                          <a:pt x="27" y="4"/>
                          <a:pt x="27" y="4"/>
                          <a:pt x="27" y="4"/>
                        </a:cubicBezTo>
                        <a:cubicBezTo>
                          <a:pt x="27" y="2"/>
                          <a:pt x="29" y="0"/>
                          <a:pt x="32" y="0"/>
                        </a:cubicBezTo>
                        <a:cubicBezTo>
                          <a:pt x="33" y="0"/>
                          <a:pt x="33" y="0"/>
                          <a:pt x="33" y="0"/>
                        </a:cubicBezTo>
                        <a:cubicBezTo>
                          <a:pt x="36" y="0"/>
                          <a:pt x="38" y="2"/>
                          <a:pt x="38" y="4"/>
                        </a:cubicBezTo>
                        <a:cubicBezTo>
                          <a:pt x="38" y="7"/>
                          <a:pt x="38" y="7"/>
                          <a:pt x="38" y="7"/>
                        </a:cubicBezTo>
                        <a:cubicBezTo>
                          <a:pt x="41" y="7"/>
                          <a:pt x="41" y="7"/>
                          <a:pt x="41" y="7"/>
                        </a:cubicBezTo>
                        <a:cubicBezTo>
                          <a:pt x="43" y="7"/>
                          <a:pt x="45" y="8"/>
                          <a:pt x="45" y="10"/>
                        </a:cubicBezTo>
                        <a:lnTo>
                          <a:pt x="45" y="44"/>
                        </a:lnTo>
                        <a:close/>
                        <a:moveTo>
                          <a:pt x="11" y="25"/>
                        </a:moveTo>
                        <a:cubicBezTo>
                          <a:pt x="11" y="17"/>
                          <a:pt x="11" y="17"/>
                          <a:pt x="11" y="17"/>
                        </a:cubicBezTo>
                        <a:cubicBezTo>
                          <a:pt x="3" y="17"/>
                          <a:pt x="3" y="17"/>
                          <a:pt x="3" y="17"/>
                        </a:cubicBezTo>
                        <a:cubicBezTo>
                          <a:pt x="3" y="25"/>
                          <a:pt x="3" y="25"/>
                          <a:pt x="3" y="25"/>
                        </a:cubicBezTo>
                        <a:lnTo>
                          <a:pt x="11" y="25"/>
                        </a:lnTo>
                        <a:close/>
                        <a:moveTo>
                          <a:pt x="11" y="35"/>
                        </a:moveTo>
                        <a:cubicBezTo>
                          <a:pt x="11" y="26"/>
                          <a:pt x="11" y="26"/>
                          <a:pt x="11" y="26"/>
                        </a:cubicBezTo>
                        <a:cubicBezTo>
                          <a:pt x="3" y="26"/>
                          <a:pt x="3" y="26"/>
                          <a:pt x="3" y="26"/>
                        </a:cubicBezTo>
                        <a:cubicBezTo>
                          <a:pt x="3" y="35"/>
                          <a:pt x="3" y="35"/>
                          <a:pt x="3" y="35"/>
                        </a:cubicBezTo>
                        <a:lnTo>
                          <a:pt x="11" y="35"/>
                        </a:lnTo>
                        <a:close/>
                        <a:moveTo>
                          <a:pt x="11" y="44"/>
                        </a:moveTo>
                        <a:cubicBezTo>
                          <a:pt x="11" y="37"/>
                          <a:pt x="11" y="37"/>
                          <a:pt x="11" y="37"/>
                        </a:cubicBezTo>
                        <a:cubicBezTo>
                          <a:pt x="3" y="37"/>
                          <a:pt x="3" y="37"/>
                          <a:pt x="3" y="37"/>
                        </a:cubicBezTo>
                        <a:cubicBezTo>
                          <a:pt x="3" y="44"/>
                          <a:pt x="3" y="44"/>
                          <a:pt x="3" y="44"/>
                        </a:cubicBezTo>
                        <a:lnTo>
                          <a:pt x="11" y="44"/>
                        </a:lnTo>
                        <a:close/>
                        <a:moveTo>
                          <a:pt x="14" y="4"/>
                        </a:moveTo>
                        <a:cubicBezTo>
                          <a:pt x="14" y="4"/>
                          <a:pt x="13" y="3"/>
                          <a:pt x="13" y="3"/>
                        </a:cubicBezTo>
                        <a:cubicBezTo>
                          <a:pt x="11" y="3"/>
                          <a:pt x="11" y="3"/>
                          <a:pt x="11" y="3"/>
                        </a:cubicBezTo>
                        <a:cubicBezTo>
                          <a:pt x="11" y="3"/>
                          <a:pt x="10" y="4"/>
                          <a:pt x="10" y="4"/>
                        </a:cubicBezTo>
                        <a:cubicBezTo>
                          <a:pt x="10" y="12"/>
                          <a:pt x="10" y="12"/>
                          <a:pt x="10" y="12"/>
                        </a:cubicBezTo>
                        <a:cubicBezTo>
                          <a:pt x="10" y="12"/>
                          <a:pt x="11" y="13"/>
                          <a:pt x="11" y="13"/>
                        </a:cubicBezTo>
                        <a:cubicBezTo>
                          <a:pt x="13" y="13"/>
                          <a:pt x="13" y="13"/>
                          <a:pt x="13" y="13"/>
                        </a:cubicBezTo>
                        <a:cubicBezTo>
                          <a:pt x="13" y="13"/>
                          <a:pt x="14" y="12"/>
                          <a:pt x="14" y="12"/>
                        </a:cubicBezTo>
                        <a:lnTo>
                          <a:pt x="14" y="4"/>
                        </a:lnTo>
                        <a:close/>
                        <a:moveTo>
                          <a:pt x="21" y="25"/>
                        </a:moveTo>
                        <a:cubicBezTo>
                          <a:pt x="21" y="17"/>
                          <a:pt x="21" y="17"/>
                          <a:pt x="21" y="17"/>
                        </a:cubicBezTo>
                        <a:cubicBezTo>
                          <a:pt x="13" y="17"/>
                          <a:pt x="13" y="17"/>
                          <a:pt x="13" y="17"/>
                        </a:cubicBezTo>
                        <a:cubicBezTo>
                          <a:pt x="13" y="25"/>
                          <a:pt x="13" y="25"/>
                          <a:pt x="13" y="25"/>
                        </a:cubicBezTo>
                        <a:lnTo>
                          <a:pt x="21" y="25"/>
                        </a:lnTo>
                        <a:close/>
                        <a:moveTo>
                          <a:pt x="21" y="35"/>
                        </a:moveTo>
                        <a:cubicBezTo>
                          <a:pt x="21" y="26"/>
                          <a:pt x="21" y="26"/>
                          <a:pt x="21" y="26"/>
                        </a:cubicBezTo>
                        <a:cubicBezTo>
                          <a:pt x="13" y="26"/>
                          <a:pt x="13" y="26"/>
                          <a:pt x="13" y="26"/>
                        </a:cubicBezTo>
                        <a:cubicBezTo>
                          <a:pt x="13" y="35"/>
                          <a:pt x="13" y="35"/>
                          <a:pt x="13" y="35"/>
                        </a:cubicBezTo>
                        <a:lnTo>
                          <a:pt x="21" y="35"/>
                        </a:lnTo>
                        <a:close/>
                        <a:moveTo>
                          <a:pt x="21" y="44"/>
                        </a:moveTo>
                        <a:cubicBezTo>
                          <a:pt x="21" y="37"/>
                          <a:pt x="21" y="37"/>
                          <a:pt x="21" y="37"/>
                        </a:cubicBezTo>
                        <a:cubicBezTo>
                          <a:pt x="13" y="37"/>
                          <a:pt x="13" y="37"/>
                          <a:pt x="13" y="37"/>
                        </a:cubicBezTo>
                        <a:cubicBezTo>
                          <a:pt x="13" y="44"/>
                          <a:pt x="13" y="44"/>
                          <a:pt x="13" y="44"/>
                        </a:cubicBezTo>
                        <a:lnTo>
                          <a:pt x="21" y="44"/>
                        </a:lnTo>
                        <a:close/>
                        <a:moveTo>
                          <a:pt x="32" y="25"/>
                        </a:moveTo>
                        <a:cubicBezTo>
                          <a:pt x="32" y="17"/>
                          <a:pt x="32" y="17"/>
                          <a:pt x="32" y="17"/>
                        </a:cubicBezTo>
                        <a:cubicBezTo>
                          <a:pt x="23" y="17"/>
                          <a:pt x="23" y="17"/>
                          <a:pt x="23" y="17"/>
                        </a:cubicBezTo>
                        <a:cubicBezTo>
                          <a:pt x="23" y="25"/>
                          <a:pt x="23" y="25"/>
                          <a:pt x="23" y="25"/>
                        </a:cubicBezTo>
                        <a:lnTo>
                          <a:pt x="32" y="25"/>
                        </a:lnTo>
                        <a:close/>
                        <a:moveTo>
                          <a:pt x="32" y="35"/>
                        </a:moveTo>
                        <a:cubicBezTo>
                          <a:pt x="32" y="26"/>
                          <a:pt x="32" y="26"/>
                          <a:pt x="32" y="26"/>
                        </a:cubicBezTo>
                        <a:cubicBezTo>
                          <a:pt x="23" y="26"/>
                          <a:pt x="23" y="26"/>
                          <a:pt x="23" y="26"/>
                        </a:cubicBezTo>
                        <a:cubicBezTo>
                          <a:pt x="23" y="35"/>
                          <a:pt x="23" y="35"/>
                          <a:pt x="23" y="35"/>
                        </a:cubicBezTo>
                        <a:lnTo>
                          <a:pt x="32" y="35"/>
                        </a:lnTo>
                        <a:close/>
                        <a:moveTo>
                          <a:pt x="32" y="44"/>
                        </a:moveTo>
                        <a:cubicBezTo>
                          <a:pt x="32" y="37"/>
                          <a:pt x="32" y="37"/>
                          <a:pt x="32" y="37"/>
                        </a:cubicBezTo>
                        <a:cubicBezTo>
                          <a:pt x="23" y="37"/>
                          <a:pt x="23" y="37"/>
                          <a:pt x="23" y="37"/>
                        </a:cubicBezTo>
                        <a:cubicBezTo>
                          <a:pt x="23" y="44"/>
                          <a:pt x="23" y="44"/>
                          <a:pt x="23" y="44"/>
                        </a:cubicBezTo>
                        <a:lnTo>
                          <a:pt x="32" y="44"/>
                        </a:lnTo>
                        <a:close/>
                        <a:moveTo>
                          <a:pt x="34" y="4"/>
                        </a:moveTo>
                        <a:cubicBezTo>
                          <a:pt x="34" y="4"/>
                          <a:pt x="34" y="3"/>
                          <a:pt x="33" y="3"/>
                        </a:cubicBezTo>
                        <a:cubicBezTo>
                          <a:pt x="32" y="3"/>
                          <a:pt x="32" y="3"/>
                          <a:pt x="32" y="3"/>
                        </a:cubicBezTo>
                        <a:cubicBezTo>
                          <a:pt x="31" y="3"/>
                          <a:pt x="31" y="4"/>
                          <a:pt x="31" y="4"/>
                        </a:cubicBezTo>
                        <a:cubicBezTo>
                          <a:pt x="31" y="12"/>
                          <a:pt x="31" y="12"/>
                          <a:pt x="31" y="12"/>
                        </a:cubicBezTo>
                        <a:cubicBezTo>
                          <a:pt x="31" y="12"/>
                          <a:pt x="31" y="13"/>
                          <a:pt x="32" y="13"/>
                        </a:cubicBezTo>
                        <a:cubicBezTo>
                          <a:pt x="33" y="13"/>
                          <a:pt x="33" y="13"/>
                          <a:pt x="33" y="13"/>
                        </a:cubicBezTo>
                        <a:cubicBezTo>
                          <a:pt x="34" y="13"/>
                          <a:pt x="34" y="12"/>
                          <a:pt x="34" y="12"/>
                        </a:cubicBezTo>
                        <a:lnTo>
                          <a:pt x="34" y="4"/>
                        </a:lnTo>
                        <a:close/>
                        <a:moveTo>
                          <a:pt x="41" y="25"/>
                        </a:moveTo>
                        <a:cubicBezTo>
                          <a:pt x="41" y="17"/>
                          <a:pt x="41" y="17"/>
                          <a:pt x="41" y="17"/>
                        </a:cubicBezTo>
                        <a:cubicBezTo>
                          <a:pt x="33" y="17"/>
                          <a:pt x="33" y="17"/>
                          <a:pt x="33" y="17"/>
                        </a:cubicBezTo>
                        <a:cubicBezTo>
                          <a:pt x="33" y="25"/>
                          <a:pt x="33" y="25"/>
                          <a:pt x="33" y="25"/>
                        </a:cubicBezTo>
                        <a:lnTo>
                          <a:pt x="41" y="25"/>
                        </a:lnTo>
                        <a:close/>
                        <a:moveTo>
                          <a:pt x="41" y="35"/>
                        </a:moveTo>
                        <a:cubicBezTo>
                          <a:pt x="41" y="26"/>
                          <a:pt x="41" y="26"/>
                          <a:pt x="41" y="26"/>
                        </a:cubicBezTo>
                        <a:cubicBezTo>
                          <a:pt x="33" y="26"/>
                          <a:pt x="33" y="26"/>
                          <a:pt x="33" y="26"/>
                        </a:cubicBezTo>
                        <a:cubicBezTo>
                          <a:pt x="33" y="35"/>
                          <a:pt x="33" y="35"/>
                          <a:pt x="33" y="35"/>
                        </a:cubicBezTo>
                        <a:lnTo>
                          <a:pt x="41" y="35"/>
                        </a:lnTo>
                        <a:close/>
                        <a:moveTo>
                          <a:pt x="41" y="44"/>
                        </a:moveTo>
                        <a:cubicBezTo>
                          <a:pt x="41" y="37"/>
                          <a:pt x="41" y="37"/>
                          <a:pt x="41" y="37"/>
                        </a:cubicBezTo>
                        <a:cubicBezTo>
                          <a:pt x="33" y="37"/>
                          <a:pt x="33" y="37"/>
                          <a:pt x="33" y="37"/>
                        </a:cubicBezTo>
                        <a:cubicBezTo>
                          <a:pt x="33" y="44"/>
                          <a:pt x="33" y="44"/>
                          <a:pt x="33" y="44"/>
                        </a:cubicBezTo>
                        <a:lnTo>
                          <a:pt x="41" y="44"/>
                        </a:lnTo>
                        <a:close/>
                      </a:path>
                    </a:pathLst>
                  </a:custGeom>
                  <a:solidFill>
                    <a:schemeClr val="tx2"/>
                  </a:solidFill>
                  <a:ln>
                    <a:noFill/>
                  </a:ln>
                </p:spPr>
                <p:txBody>
                  <a:bodyPr lIns="0" tIns="0" rIns="0" bIns="0" anchor="ctr"/>
                  <a:lstStyle/>
                  <a:p>
                    <a:pPr algn="ctr"/>
                    <a:endParaRPr>
                      <a:cs typeface="+mn-ea"/>
                      <a:sym typeface="+mn-lt"/>
                    </a:endParaRPr>
                  </a:p>
                </p:txBody>
              </p:sp>
              <p:grpSp>
                <p:nvGrpSpPr>
                  <p:cNvPr id="43" name="组合 42"/>
                  <p:cNvGrpSpPr/>
                  <p:nvPr/>
                </p:nvGrpSpPr>
                <p:grpSpPr>
                  <a:xfrm>
                    <a:off x="1782343" y="1775457"/>
                    <a:ext cx="2880320" cy="1229016"/>
                    <a:chOff x="1782343" y="1775457"/>
                    <a:chExt cx="2880320" cy="1229016"/>
                  </a:xfrm>
                </p:grpSpPr>
                <p:sp>
                  <p:nvSpPr>
                    <p:cNvPr id="17" name="Text2"/>
                    <p:cNvSpPr/>
                    <p:nvPr/>
                  </p:nvSpPr>
                  <p:spPr bwMode="auto">
                    <a:xfrm>
                      <a:off x="1782343" y="2332856"/>
                      <a:ext cx="2880320" cy="671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1">
                      <a:normAutofit/>
                    </a:bodyPr>
                    <a:lstStyle/>
                    <a:p>
                      <a:pPr algn="ctr">
                        <a:lnSpc>
                          <a:spcPct val="120000"/>
                        </a:lnSpc>
                      </a:pPr>
                      <a:r>
                        <a:rPr lang="zh-CN" altLang="en-US" sz="1200" dirty="0">
                          <a:cs typeface="+mn-ea"/>
                          <a:sym typeface="+mn-lt"/>
                        </a:rPr>
                        <a:t>请输入文本内容</a:t>
                      </a:r>
                      <a:endParaRPr lang="zh-CN" altLang="en-US" sz="1200" dirty="0">
                        <a:cs typeface="+mn-ea"/>
                        <a:sym typeface="+mn-lt"/>
                      </a:endParaRPr>
                    </a:p>
                  </p:txBody>
                </p:sp>
                <p:sp>
                  <p:nvSpPr>
                    <p:cNvPr id="18" name="Bullet2"/>
                    <p:cNvSpPr txBox="1"/>
                    <p:nvPr/>
                  </p:nvSpPr>
                  <p:spPr bwMode="auto">
                    <a:xfrm>
                      <a:off x="1782343" y="1775457"/>
                      <a:ext cx="2880320"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b" anchorCtr="1">
                      <a:normAutofit/>
                    </a:bodyPr>
                    <a:lstStyle/>
                    <a:p>
                      <a:pPr algn="ctr" eaLnBrk="1" hangingPunct="1">
                        <a:spcBef>
                          <a:spcPct val="0"/>
                        </a:spcBef>
                        <a:buFontTx/>
                        <a:buNone/>
                      </a:pPr>
                      <a:r>
                        <a:rPr lang="zh-CN" altLang="en-US" b="1" dirty="0">
                          <a:cs typeface="+mn-ea"/>
                          <a:sym typeface="+mn-lt"/>
                        </a:rPr>
                        <a:t>单击此处添加标题</a:t>
                      </a:r>
                      <a:endParaRPr lang="zh-CN" altLang="en-US" b="1" dirty="0">
                        <a:cs typeface="+mn-ea"/>
                        <a:sym typeface="+mn-lt"/>
                      </a:endParaRPr>
                    </a:p>
                  </p:txBody>
                </p:sp>
              </p:grpSp>
            </p:grpSp>
            <p:grpSp>
              <p:nvGrpSpPr>
                <p:cNvPr id="51" name="组合 50"/>
                <p:cNvGrpSpPr/>
                <p:nvPr/>
              </p:nvGrpSpPr>
              <p:grpSpPr>
                <a:xfrm>
                  <a:off x="3335680" y="4134162"/>
                  <a:ext cx="2647142" cy="1999938"/>
                  <a:chOff x="3335680" y="4134162"/>
                  <a:chExt cx="2647142" cy="1999938"/>
                </a:xfrm>
              </p:grpSpPr>
              <p:grpSp>
                <p:nvGrpSpPr>
                  <p:cNvPr id="44" name="组合 43"/>
                  <p:cNvGrpSpPr/>
                  <p:nvPr/>
                </p:nvGrpSpPr>
                <p:grpSpPr>
                  <a:xfrm>
                    <a:off x="3335680" y="4960580"/>
                    <a:ext cx="2647142" cy="1173520"/>
                    <a:chOff x="3335680" y="4960580"/>
                    <a:chExt cx="2647142" cy="1173520"/>
                  </a:xfrm>
                </p:grpSpPr>
                <p:sp>
                  <p:nvSpPr>
                    <p:cNvPr id="3" name="Bullet3"/>
                    <p:cNvSpPr txBox="1"/>
                    <p:nvPr/>
                  </p:nvSpPr>
                  <p:spPr>
                    <a:xfrm>
                      <a:off x="3335680" y="4960580"/>
                      <a:ext cx="2647142" cy="543644"/>
                    </a:xfrm>
                    <a:prstGeom prst="rect">
                      <a:avLst/>
                    </a:prstGeom>
                    <a:noFill/>
                  </p:spPr>
                  <p:txBody>
                    <a:bodyPr wrap="square" lIns="90000" tIns="46800" rIns="90000" bIns="46800" anchor="b" anchorCtr="1">
                      <a:normAutofit/>
                    </a:bodyPr>
                    <a:lstStyle/>
                    <a:p>
                      <a:pPr algn="ctr"/>
                      <a:r>
                        <a:rPr lang="zh-CN" altLang="en-US" b="1" dirty="0">
                          <a:solidFill>
                            <a:schemeClr val="accent1"/>
                          </a:solidFill>
                          <a:cs typeface="+mn-ea"/>
                          <a:sym typeface="+mn-lt"/>
                        </a:rPr>
                        <a:t>单击此处添加标题</a:t>
                      </a:r>
                      <a:endParaRPr lang="zh-CN" altLang="en-US" b="1" dirty="0">
                        <a:solidFill>
                          <a:schemeClr val="accent1"/>
                        </a:solidFill>
                        <a:cs typeface="+mn-ea"/>
                        <a:sym typeface="+mn-lt"/>
                      </a:endParaRPr>
                    </a:p>
                  </p:txBody>
                </p:sp>
                <p:sp>
                  <p:nvSpPr>
                    <p:cNvPr id="4" name="Text3"/>
                    <p:cNvSpPr txBox="1"/>
                    <p:nvPr/>
                  </p:nvSpPr>
                  <p:spPr>
                    <a:xfrm>
                      <a:off x="3335680" y="5503921"/>
                      <a:ext cx="2647142" cy="630179"/>
                    </a:xfrm>
                    <a:prstGeom prst="rect">
                      <a:avLst/>
                    </a:prstGeom>
                    <a:noFill/>
                  </p:spPr>
                  <p:txBody>
                    <a:bodyPr wrap="square" lIns="90000" tIns="46800" rIns="90000" bIns="46800" anchor="t" anchorCtr="1">
                      <a:normAutofit/>
                    </a:bodyPr>
                    <a:lstStyle/>
                    <a:p>
                      <a:pPr algn="ctr">
                        <a:lnSpc>
                          <a:spcPct val="120000"/>
                        </a:lnSpc>
                      </a:pPr>
                      <a:r>
                        <a:rPr lang="zh-CN" altLang="en-US" sz="1200" dirty="0">
                          <a:solidFill>
                            <a:srgbClr val="0070C0"/>
                          </a:solidFill>
                          <a:cs typeface="+mn-ea"/>
                          <a:sym typeface="+mn-lt"/>
                        </a:rPr>
                        <a:t>请输入文本内容</a:t>
                      </a:r>
                      <a:endParaRPr lang="zh-CN" altLang="en-US" sz="1200" dirty="0">
                        <a:solidFill>
                          <a:srgbClr val="0070C0"/>
                        </a:solidFill>
                        <a:cs typeface="+mn-ea"/>
                        <a:sym typeface="+mn-lt"/>
                      </a:endParaRPr>
                    </a:p>
                  </p:txBody>
                </p:sp>
              </p:grpSp>
              <p:grpSp>
                <p:nvGrpSpPr>
                  <p:cNvPr id="41" name="组合 40"/>
                  <p:cNvGrpSpPr/>
                  <p:nvPr/>
                </p:nvGrpSpPr>
                <p:grpSpPr>
                  <a:xfrm>
                    <a:off x="4302929" y="4134162"/>
                    <a:ext cx="804672" cy="804672"/>
                    <a:chOff x="4256914" y="4134162"/>
                    <a:chExt cx="804672" cy="804672"/>
                  </a:xfrm>
                </p:grpSpPr>
                <p:sp>
                  <p:nvSpPr>
                    <p:cNvPr id="27" name="ïṡļiḑé"/>
                    <p:cNvSpPr/>
                    <p:nvPr/>
                  </p:nvSpPr>
                  <p:spPr bwMode="auto">
                    <a:xfrm>
                      <a:off x="4256914" y="4134162"/>
                      <a:ext cx="804672" cy="804672"/>
                    </a:xfrm>
                    <a:prstGeom prst="ellipse">
                      <a:avLst/>
                    </a:prstGeom>
                    <a:solidFill>
                      <a:schemeClr val="accent1"/>
                    </a:solidFill>
                    <a:ln w="9525">
                      <a:noFill/>
                      <a:round/>
                    </a:ln>
                  </p:spPr>
                  <p:txBody>
                    <a:bodyPr lIns="0" tIns="0" rIns="0" bIns="0" anchor="ctr"/>
                    <a:lstStyle/>
                    <a:p>
                      <a:pPr algn="ctr"/>
                      <a:endParaRPr>
                        <a:cs typeface="+mn-ea"/>
                        <a:sym typeface="+mn-lt"/>
                      </a:endParaRPr>
                    </a:p>
                  </p:txBody>
                </p:sp>
                <p:sp>
                  <p:nvSpPr>
                    <p:cNvPr id="30" name="Icon3"/>
                    <p:cNvSpPr/>
                    <p:nvPr/>
                  </p:nvSpPr>
                  <p:spPr bwMode="auto">
                    <a:xfrm>
                      <a:off x="4496444" y="4362780"/>
                      <a:ext cx="325614" cy="369182"/>
                    </a:xfrm>
                    <a:custGeom>
                      <a:avLst/>
                      <a:gdLst>
                        <a:gd name="T0" fmla="*/ 2125 w 2288"/>
                        <a:gd name="T1" fmla="*/ 924 h 2598"/>
                        <a:gd name="T2" fmla="*/ 1863 w 2288"/>
                        <a:gd name="T3" fmla="*/ 1258 h 2598"/>
                        <a:gd name="T4" fmla="*/ 1848 w 2288"/>
                        <a:gd name="T5" fmla="*/ 1586 h 2598"/>
                        <a:gd name="T6" fmla="*/ 1899 w 2288"/>
                        <a:gd name="T7" fmla="*/ 1716 h 2598"/>
                        <a:gd name="T8" fmla="*/ 1211 w 2288"/>
                        <a:gd name="T9" fmla="*/ 2079 h 2598"/>
                        <a:gd name="T10" fmla="*/ 1176 w 2288"/>
                        <a:gd name="T11" fmla="*/ 2038 h 2598"/>
                        <a:gd name="T12" fmla="*/ 1200 w 2288"/>
                        <a:gd name="T13" fmla="*/ 965 h 2598"/>
                        <a:gd name="T14" fmla="*/ 1409 w 2288"/>
                        <a:gd name="T15" fmla="*/ 1012 h 2598"/>
                        <a:gd name="T16" fmla="*/ 1522 w 2288"/>
                        <a:gd name="T17" fmla="*/ 978 h 2598"/>
                        <a:gd name="T18" fmla="*/ 1526 w 2288"/>
                        <a:gd name="T19" fmla="*/ 847 h 2598"/>
                        <a:gd name="T20" fmla="*/ 1387 w 2288"/>
                        <a:gd name="T21" fmla="*/ 828 h 2598"/>
                        <a:gd name="T22" fmla="*/ 1193 w 2288"/>
                        <a:gd name="T23" fmla="*/ 584 h 2598"/>
                        <a:gd name="T24" fmla="*/ 1375 w 2288"/>
                        <a:gd name="T25" fmla="*/ 124 h 2598"/>
                        <a:gd name="T26" fmla="*/ 1109 w 2288"/>
                        <a:gd name="T27" fmla="*/ 37 h 2598"/>
                        <a:gd name="T28" fmla="*/ 1013 w 2288"/>
                        <a:gd name="T29" fmla="*/ 570 h 2598"/>
                        <a:gd name="T30" fmla="*/ 1056 w 2288"/>
                        <a:gd name="T31" fmla="*/ 808 h 2598"/>
                        <a:gd name="T32" fmla="*/ 891 w 2288"/>
                        <a:gd name="T33" fmla="*/ 784 h 2598"/>
                        <a:gd name="T34" fmla="*/ 748 w 2288"/>
                        <a:gd name="T35" fmla="*/ 921 h 2598"/>
                        <a:gd name="T36" fmla="*/ 899 w 2288"/>
                        <a:gd name="T37" fmla="*/ 946 h 2598"/>
                        <a:gd name="T38" fmla="*/ 1024 w 2288"/>
                        <a:gd name="T39" fmla="*/ 1479 h 2598"/>
                        <a:gd name="T40" fmla="*/ 1022 w 2288"/>
                        <a:gd name="T41" fmla="*/ 2081 h 2598"/>
                        <a:gd name="T42" fmla="*/ 434 w 2288"/>
                        <a:gd name="T43" fmla="*/ 1569 h 2598"/>
                        <a:gd name="T44" fmla="*/ 395 w 2288"/>
                        <a:gd name="T45" fmla="*/ 1470 h 2598"/>
                        <a:gd name="T46" fmla="*/ 88 w 2288"/>
                        <a:gd name="T47" fmla="*/ 1148 h 2598"/>
                        <a:gd name="T48" fmla="*/ 101 w 2288"/>
                        <a:gd name="T49" fmla="*/ 1658 h 2598"/>
                        <a:gd name="T50" fmla="*/ 906 w 2288"/>
                        <a:gd name="T51" fmla="*/ 2228 h 2598"/>
                        <a:gd name="T52" fmla="*/ 1177 w 2288"/>
                        <a:gd name="T53" fmla="*/ 2500 h 2598"/>
                        <a:gd name="T54" fmla="*/ 1223 w 2288"/>
                        <a:gd name="T55" fmla="*/ 2405 h 2598"/>
                        <a:gd name="T56" fmla="*/ 1273 w 2288"/>
                        <a:gd name="T57" fmla="*/ 2328 h 2598"/>
                        <a:gd name="T58" fmla="*/ 1280 w 2288"/>
                        <a:gd name="T59" fmla="*/ 2234 h 2598"/>
                        <a:gd name="T60" fmla="*/ 2094 w 2288"/>
                        <a:gd name="T61" fmla="*/ 1624 h 2598"/>
                        <a:gd name="T62" fmla="*/ 2274 w 2288"/>
                        <a:gd name="T63" fmla="*/ 1517 h 2598"/>
                        <a:gd name="T64" fmla="*/ 1065 w 2288"/>
                        <a:gd name="T65" fmla="*/ 420 h 2598"/>
                        <a:gd name="T66" fmla="*/ 1131 w 2288"/>
                        <a:gd name="T67" fmla="*/ 148 h 2598"/>
                        <a:gd name="T68" fmla="*/ 1165 w 2288"/>
                        <a:gd name="T69" fmla="*/ 430 h 2598"/>
                        <a:gd name="T70" fmla="*/ 1065 w 2288"/>
                        <a:gd name="T71" fmla="*/ 420 h 2598"/>
                        <a:gd name="T72" fmla="*/ 1040 w 2288"/>
                        <a:gd name="T73" fmla="*/ 2287 h 2598"/>
                        <a:gd name="T74" fmla="*/ 1032 w 2288"/>
                        <a:gd name="T75" fmla="*/ 2241 h 2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88" h="2598">
                          <a:moveTo>
                            <a:pt x="2281" y="1465"/>
                          </a:moveTo>
                          <a:cubicBezTo>
                            <a:pt x="2220" y="1286"/>
                            <a:pt x="2159" y="1111"/>
                            <a:pt x="2125" y="924"/>
                          </a:cubicBezTo>
                          <a:cubicBezTo>
                            <a:pt x="2112" y="850"/>
                            <a:pt x="2015" y="868"/>
                            <a:pt x="1992" y="924"/>
                          </a:cubicBezTo>
                          <a:cubicBezTo>
                            <a:pt x="1948" y="1035"/>
                            <a:pt x="1904" y="1146"/>
                            <a:pt x="1863" y="1258"/>
                          </a:cubicBezTo>
                          <a:cubicBezTo>
                            <a:pt x="1840" y="1319"/>
                            <a:pt x="1790" y="1411"/>
                            <a:pt x="1809" y="1480"/>
                          </a:cubicBezTo>
                          <a:cubicBezTo>
                            <a:pt x="1783" y="1516"/>
                            <a:pt x="1783" y="1565"/>
                            <a:pt x="1848" y="1586"/>
                          </a:cubicBezTo>
                          <a:cubicBezTo>
                            <a:pt x="1878" y="1596"/>
                            <a:pt x="1908" y="1602"/>
                            <a:pt x="1938" y="1607"/>
                          </a:cubicBezTo>
                          <a:cubicBezTo>
                            <a:pt x="1927" y="1644"/>
                            <a:pt x="1916" y="1681"/>
                            <a:pt x="1899" y="1716"/>
                          </a:cubicBezTo>
                          <a:cubicBezTo>
                            <a:pt x="1861" y="1789"/>
                            <a:pt x="1799" y="1850"/>
                            <a:pt x="1734" y="1899"/>
                          </a:cubicBezTo>
                          <a:cubicBezTo>
                            <a:pt x="1586" y="2012"/>
                            <a:pt x="1393" y="2062"/>
                            <a:pt x="1211" y="2079"/>
                          </a:cubicBezTo>
                          <a:cubicBezTo>
                            <a:pt x="1201" y="2080"/>
                            <a:pt x="1190" y="2080"/>
                            <a:pt x="1180" y="2081"/>
                          </a:cubicBezTo>
                          <a:cubicBezTo>
                            <a:pt x="1178" y="2066"/>
                            <a:pt x="1177" y="2052"/>
                            <a:pt x="1176" y="2038"/>
                          </a:cubicBezTo>
                          <a:cubicBezTo>
                            <a:pt x="1167" y="1852"/>
                            <a:pt x="1173" y="1665"/>
                            <a:pt x="1178" y="1479"/>
                          </a:cubicBezTo>
                          <a:cubicBezTo>
                            <a:pt x="1183" y="1309"/>
                            <a:pt x="1195" y="1137"/>
                            <a:pt x="1200" y="965"/>
                          </a:cubicBezTo>
                          <a:cubicBezTo>
                            <a:pt x="1262" y="972"/>
                            <a:pt x="1326" y="981"/>
                            <a:pt x="1388" y="979"/>
                          </a:cubicBezTo>
                          <a:cubicBezTo>
                            <a:pt x="1391" y="992"/>
                            <a:pt x="1399" y="1003"/>
                            <a:pt x="1409" y="1012"/>
                          </a:cubicBezTo>
                          <a:cubicBezTo>
                            <a:pt x="1434" y="1041"/>
                            <a:pt x="1476" y="1041"/>
                            <a:pt x="1501" y="1012"/>
                          </a:cubicBezTo>
                          <a:cubicBezTo>
                            <a:pt x="1511" y="1003"/>
                            <a:pt x="1519" y="991"/>
                            <a:pt x="1522" y="978"/>
                          </a:cubicBezTo>
                          <a:cubicBezTo>
                            <a:pt x="1528" y="956"/>
                            <a:pt x="1526" y="931"/>
                            <a:pt x="1526" y="908"/>
                          </a:cubicBezTo>
                          <a:lnTo>
                            <a:pt x="1526" y="847"/>
                          </a:lnTo>
                          <a:cubicBezTo>
                            <a:pt x="1526" y="809"/>
                            <a:pt x="1493" y="776"/>
                            <a:pt x="1455" y="776"/>
                          </a:cubicBezTo>
                          <a:cubicBezTo>
                            <a:pt x="1423" y="776"/>
                            <a:pt x="1395" y="799"/>
                            <a:pt x="1387" y="828"/>
                          </a:cubicBezTo>
                          <a:cubicBezTo>
                            <a:pt x="1327" y="813"/>
                            <a:pt x="1264" y="812"/>
                            <a:pt x="1202" y="810"/>
                          </a:cubicBezTo>
                          <a:cubicBezTo>
                            <a:pt x="1202" y="735"/>
                            <a:pt x="1199" y="659"/>
                            <a:pt x="1193" y="584"/>
                          </a:cubicBezTo>
                          <a:cubicBezTo>
                            <a:pt x="1297" y="558"/>
                            <a:pt x="1391" y="480"/>
                            <a:pt x="1431" y="385"/>
                          </a:cubicBezTo>
                          <a:cubicBezTo>
                            <a:pt x="1470" y="292"/>
                            <a:pt x="1441" y="197"/>
                            <a:pt x="1375" y="124"/>
                          </a:cubicBezTo>
                          <a:cubicBezTo>
                            <a:pt x="1315" y="57"/>
                            <a:pt x="1196" y="0"/>
                            <a:pt x="1109" y="37"/>
                          </a:cubicBezTo>
                          <a:cubicBezTo>
                            <a:pt x="1109" y="37"/>
                            <a:pt x="1109" y="37"/>
                            <a:pt x="1109" y="37"/>
                          </a:cubicBezTo>
                          <a:cubicBezTo>
                            <a:pt x="988" y="48"/>
                            <a:pt x="885" y="127"/>
                            <a:pt x="860" y="255"/>
                          </a:cubicBezTo>
                          <a:cubicBezTo>
                            <a:pt x="837" y="376"/>
                            <a:pt x="900" y="516"/>
                            <a:pt x="1013" y="570"/>
                          </a:cubicBezTo>
                          <a:cubicBezTo>
                            <a:pt x="1033" y="580"/>
                            <a:pt x="1055" y="586"/>
                            <a:pt x="1077" y="590"/>
                          </a:cubicBezTo>
                          <a:cubicBezTo>
                            <a:pt x="1068" y="662"/>
                            <a:pt x="1062" y="735"/>
                            <a:pt x="1056" y="808"/>
                          </a:cubicBezTo>
                          <a:cubicBezTo>
                            <a:pt x="1001" y="808"/>
                            <a:pt x="947" y="810"/>
                            <a:pt x="892" y="813"/>
                          </a:cubicBezTo>
                          <a:cubicBezTo>
                            <a:pt x="892" y="803"/>
                            <a:pt x="891" y="793"/>
                            <a:pt x="891" y="784"/>
                          </a:cubicBezTo>
                          <a:cubicBezTo>
                            <a:pt x="896" y="691"/>
                            <a:pt x="748" y="690"/>
                            <a:pt x="747" y="784"/>
                          </a:cubicBezTo>
                          <a:cubicBezTo>
                            <a:pt x="747" y="829"/>
                            <a:pt x="742" y="876"/>
                            <a:pt x="748" y="921"/>
                          </a:cubicBezTo>
                          <a:cubicBezTo>
                            <a:pt x="756" y="983"/>
                            <a:pt x="811" y="1002"/>
                            <a:pt x="851" y="981"/>
                          </a:cubicBezTo>
                          <a:cubicBezTo>
                            <a:pt x="872" y="980"/>
                            <a:pt x="891" y="967"/>
                            <a:pt x="899" y="946"/>
                          </a:cubicBezTo>
                          <a:cubicBezTo>
                            <a:pt x="948" y="949"/>
                            <a:pt x="998" y="951"/>
                            <a:pt x="1047" y="954"/>
                          </a:cubicBezTo>
                          <a:cubicBezTo>
                            <a:pt x="1037" y="1129"/>
                            <a:pt x="1031" y="1305"/>
                            <a:pt x="1024" y="1479"/>
                          </a:cubicBezTo>
                          <a:cubicBezTo>
                            <a:pt x="1017" y="1665"/>
                            <a:pt x="1014" y="1851"/>
                            <a:pt x="1021" y="2038"/>
                          </a:cubicBezTo>
                          <a:cubicBezTo>
                            <a:pt x="1022" y="2051"/>
                            <a:pt x="1022" y="2066"/>
                            <a:pt x="1022" y="2081"/>
                          </a:cubicBezTo>
                          <a:cubicBezTo>
                            <a:pt x="722" y="2061"/>
                            <a:pt x="421" y="1927"/>
                            <a:pt x="289" y="1649"/>
                          </a:cubicBezTo>
                          <a:cubicBezTo>
                            <a:pt x="342" y="1639"/>
                            <a:pt x="422" y="1633"/>
                            <a:pt x="434" y="1569"/>
                          </a:cubicBezTo>
                          <a:cubicBezTo>
                            <a:pt x="439" y="1539"/>
                            <a:pt x="429" y="1506"/>
                            <a:pt x="402" y="1492"/>
                          </a:cubicBezTo>
                          <a:cubicBezTo>
                            <a:pt x="401" y="1485"/>
                            <a:pt x="399" y="1478"/>
                            <a:pt x="395" y="1470"/>
                          </a:cubicBezTo>
                          <a:cubicBezTo>
                            <a:pt x="338" y="1362"/>
                            <a:pt x="258" y="1263"/>
                            <a:pt x="215" y="1148"/>
                          </a:cubicBezTo>
                          <a:cubicBezTo>
                            <a:pt x="192" y="1085"/>
                            <a:pt x="111" y="1085"/>
                            <a:pt x="88" y="1148"/>
                          </a:cubicBezTo>
                          <a:cubicBezTo>
                            <a:pt x="29" y="1306"/>
                            <a:pt x="0" y="1457"/>
                            <a:pt x="39" y="1624"/>
                          </a:cubicBezTo>
                          <a:cubicBezTo>
                            <a:pt x="45" y="1653"/>
                            <a:pt x="75" y="1663"/>
                            <a:pt x="101" y="1658"/>
                          </a:cubicBezTo>
                          <a:cubicBezTo>
                            <a:pt x="125" y="1661"/>
                            <a:pt x="149" y="1661"/>
                            <a:pt x="172" y="1661"/>
                          </a:cubicBezTo>
                          <a:cubicBezTo>
                            <a:pt x="253" y="2008"/>
                            <a:pt x="572" y="2179"/>
                            <a:pt x="906" y="2228"/>
                          </a:cubicBezTo>
                          <a:cubicBezTo>
                            <a:pt x="931" y="2337"/>
                            <a:pt x="982" y="2443"/>
                            <a:pt x="1043" y="2536"/>
                          </a:cubicBezTo>
                          <a:cubicBezTo>
                            <a:pt x="1083" y="2598"/>
                            <a:pt x="1172" y="2572"/>
                            <a:pt x="1177" y="2500"/>
                          </a:cubicBezTo>
                          <a:cubicBezTo>
                            <a:pt x="1177" y="2509"/>
                            <a:pt x="1185" y="2477"/>
                            <a:pt x="1189" y="2468"/>
                          </a:cubicBezTo>
                          <a:cubicBezTo>
                            <a:pt x="1199" y="2446"/>
                            <a:pt x="1211" y="2426"/>
                            <a:pt x="1223" y="2405"/>
                          </a:cubicBezTo>
                          <a:cubicBezTo>
                            <a:pt x="1234" y="2386"/>
                            <a:pt x="1247" y="2368"/>
                            <a:pt x="1259" y="2349"/>
                          </a:cubicBezTo>
                          <a:cubicBezTo>
                            <a:pt x="1264" y="2342"/>
                            <a:pt x="1268" y="2335"/>
                            <a:pt x="1273" y="2328"/>
                          </a:cubicBezTo>
                          <a:cubicBezTo>
                            <a:pt x="1277" y="2322"/>
                            <a:pt x="1293" y="2305"/>
                            <a:pt x="1277" y="2322"/>
                          </a:cubicBezTo>
                          <a:cubicBezTo>
                            <a:pt x="1304" y="2294"/>
                            <a:pt x="1300" y="2258"/>
                            <a:pt x="1280" y="2234"/>
                          </a:cubicBezTo>
                          <a:cubicBezTo>
                            <a:pt x="1483" y="2210"/>
                            <a:pt x="1683" y="2139"/>
                            <a:pt x="1845" y="2015"/>
                          </a:cubicBezTo>
                          <a:cubicBezTo>
                            <a:pt x="1948" y="1936"/>
                            <a:pt x="2086" y="1773"/>
                            <a:pt x="2094" y="1624"/>
                          </a:cubicBezTo>
                          <a:cubicBezTo>
                            <a:pt x="2146" y="1628"/>
                            <a:pt x="2201" y="1630"/>
                            <a:pt x="2245" y="1609"/>
                          </a:cubicBezTo>
                          <a:cubicBezTo>
                            <a:pt x="2278" y="1594"/>
                            <a:pt x="2287" y="1550"/>
                            <a:pt x="2274" y="1517"/>
                          </a:cubicBezTo>
                          <a:cubicBezTo>
                            <a:pt x="2284" y="1503"/>
                            <a:pt x="2288" y="1485"/>
                            <a:pt x="2281" y="1465"/>
                          </a:cubicBezTo>
                          <a:close/>
                          <a:moveTo>
                            <a:pt x="1065" y="420"/>
                          </a:moveTo>
                          <a:cubicBezTo>
                            <a:pt x="1019" y="392"/>
                            <a:pt x="1002" y="323"/>
                            <a:pt x="1010" y="274"/>
                          </a:cubicBezTo>
                          <a:cubicBezTo>
                            <a:pt x="1021" y="207"/>
                            <a:pt x="1073" y="171"/>
                            <a:pt x="1131" y="148"/>
                          </a:cubicBezTo>
                          <a:cubicBezTo>
                            <a:pt x="1208" y="195"/>
                            <a:pt x="1340" y="234"/>
                            <a:pt x="1280" y="343"/>
                          </a:cubicBezTo>
                          <a:cubicBezTo>
                            <a:pt x="1258" y="383"/>
                            <a:pt x="1213" y="417"/>
                            <a:pt x="1165" y="430"/>
                          </a:cubicBezTo>
                          <a:cubicBezTo>
                            <a:pt x="1148" y="418"/>
                            <a:pt x="1121" y="420"/>
                            <a:pt x="1105" y="434"/>
                          </a:cubicBezTo>
                          <a:cubicBezTo>
                            <a:pt x="1091" y="432"/>
                            <a:pt x="1077" y="428"/>
                            <a:pt x="1065" y="420"/>
                          </a:cubicBezTo>
                          <a:close/>
                          <a:moveTo>
                            <a:pt x="1032" y="2241"/>
                          </a:moveTo>
                          <a:cubicBezTo>
                            <a:pt x="1034" y="2257"/>
                            <a:pt x="1037" y="2272"/>
                            <a:pt x="1040" y="2287"/>
                          </a:cubicBezTo>
                          <a:cubicBezTo>
                            <a:pt x="1029" y="2271"/>
                            <a:pt x="1019" y="2255"/>
                            <a:pt x="1010" y="2239"/>
                          </a:cubicBezTo>
                          <a:cubicBezTo>
                            <a:pt x="1017" y="2240"/>
                            <a:pt x="1025" y="2241"/>
                            <a:pt x="1032" y="2241"/>
                          </a:cubicBezTo>
                          <a:close/>
                        </a:path>
                      </a:pathLst>
                    </a:custGeom>
                    <a:solidFill>
                      <a:srgbClr val="FFFFFF"/>
                    </a:solidFill>
                    <a:ln>
                      <a:noFill/>
                    </a:ln>
                  </p:spPr>
                  <p:txBody>
                    <a:bodyPr lIns="0" tIns="0" rIns="0" bIns="0" anchor="ctr"/>
                    <a:lstStyle/>
                    <a:p>
                      <a:pPr algn="ctr"/>
                      <a:endParaRPr>
                        <a:cs typeface="+mn-ea"/>
                        <a:sym typeface="+mn-lt"/>
                      </a:endParaRPr>
                    </a:p>
                  </p:txBody>
                </p:sp>
              </p:grpSp>
            </p:grpSp>
            <p:grpSp>
              <p:nvGrpSpPr>
                <p:cNvPr id="52" name="组合 51"/>
                <p:cNvGrpSpPr/>
                <p:nvPr/>
              </p:nvGrpSpPr>
              <p:grpSpPr>
                <a:xfrm>
                  <a:off x="4669486" y="1775457"/>
                  <a:ext cx="2880320" cy="1927158"/>
                  <a:chOff x="4669486" y="1775457"/>
                  <a:chExt cx="2880320" cy="1927158"/>
                </a:xfrm>
              </p:grpSpPr>
              <p:sp>
                <p:nvSpPr>
                  <p:cNvPr id="15" name="Icon4"/>
                  <p:cNvSpPr/>
                  <p:nvPr/>
                </p:nvSpPr>
                <p:spPr bwMode="auto">
                  <a:xfrm>
                    <a:off x="5951431" y="3360631"/>
                    <a:ext cx="320610" cy="341984"/>
                  </a:xfrm>
                  <a:custGeom>
                    <a:avLst/>
                    <a:gdLst>
                      <a:gd name="T0" fmla="*/ 116 w 232"/>
                      <a:gd name="T1" fmla="*/ 0 h 232"/>
                      <a:gd name="T2" fmla="*/ 0 w 232"/>
                      <a:gd name="T3" fmla="*/ 116 h 232"/>
                      <a:gd name="T4" fmla="*/ 116 w 232"/>
                      <a:gd name="T5" fmla="*/ 232 h 232"/>
                      <a:gd name="T6" fmla="*/ 232 w 232"/>
                      <a:gd name="T7" fmla="*/ 116 h 232"/>
                      <a:gd name="T8" fmla="*/ 116 w 232"/>
                      <a:gd name="T9" fmla="*/ 0 h 232"/>
                      <a:gd name="T10" fmla="*/ 129 w 232"/>
                      <a:gd name="T11" fmla="*/ 208 h 232"/>
                      <a:gd name="T12" fmla="*/ 129 w 232"/>
                      <a:gd name="T13" fmla="*/ 190 h 232"/>
                      <a:gd name="T14" fmla="*/ 117 w 232"/>
                      <a:gd name="T15" fmla="*/ 178 h 232"/>
                      <a:gd name="T16" fmla="*/ 105 w 232"/>
                      <a:gd name="T17" fmla="*/ 190 h 232"/>
                      <a:gd name="T18" fmla="*/ 105 w 232"/>
                      <a:gd name="T19" fmla="*/ 208 h 232"/>
                      <a:gd name="T20" fmla="*/ 25 w 232"/>
                      <a:gd name="T21" fmla="*/ 129 h 232"/>
                      <a:gd name="T22" fmla="*/ 42 w 232"/>
                      <a:gd name="T23" fmla="*/ 129 h 232"/>
                      <a:gd name="T24" fmla="*/ 53 w 232"/>
                      <a:gd name="T25" fmla="*/ 117 h 232"/>
                      <a:gd name="T26" fmla="*/ 42 w 232"/>
                      <a:gd name="T27" fmla="*/ 105 h 232"/>
                      <a:gd name="T28" fmla="*/ 24 w 232"/>
                      <a:gd name="T29" fmla="*/ 105 h 232"/>
                      <a:gd name="T30" fmla="*/ 104 w 232"/>
                      <a:gd name="T31" fmla="*/ 25 h 232"/>
                      <a:gd name="T32" fmla="*/ 104 w 232"/>
                      <a:gd name="T33" fmla="*/ 41 h 232"/>
                      <a:gd name="T34" fmla="*/ 116 w 232"/>
                      <a:gd name="T35" fmla="*/ 53 h 232"/>
                      <a:gd name="T36" fmla="*/ 128 w 232"/>
                      <a:gd name="T37" fmla="*/ 41 h 232"/>
                      <a:gd name="T38" fmla="*/ 128 w 232"/>
                      <a:gd name="T39" fmla="*/ 25 h 232"/>
                      <a:gd name="T40" fmla="*/ 208 w 232"/>
                      <a:gd name="T41" fmla="*/ 104 h 232"/>
                      <a:gd name="T42" fmla="*/ 190 w 232"/>
                      <a:gd name="T43" fmla="*/ 104 h 232"/>
                      <a:gd name="T44" fmla="*/ 179 w 232"/>
                      <a:gd name="T45" fmla="*/ 116 h 232"/>
                      <a:gd name="T46" fmla="*/ 190 w 232"/>
                      <a:gd name="T47" fmla="*/ 128 h 232"/>
                      <a:gd name="T48" fmla="*/ 208 w 232"/>
                      <a:gd name="T49" fmla="*/ 128 h 232"/>
                      <a:gd name="T50" fmla="*/ 129 w 232"/>
                      <a:gd name="T51" fmla="*/ 208 h 232"/>
                      <a:gd name="T52" fmla="*/ 124 w 232"/>
                      <a:gd name="T53" fmla="*/ 94 h 232"/>
                      <a:gd name="T54" fmla="*/ 70 w 232"/>
                      <a:gd name="T55" fmla="*/ 69 h 232"/>
                      <a:gd name="T56" fmla="*/ 94 w 232"/>
                      <a:gd name="T57" fmla="*/ 124 h 232"/>
                      <a:gd name="T58" fmla="*/ 109 w 232"/>
                      <a:gd name="T59" fmla="*/ 138 h 232"/>
                      <a:gd name="T60" fmla="*/ 163 w 232"/>
                      <a:gd name="T61" fmla="*/ 163 h 232"/>
                      <a:gd name="T62" fmla="*/ 138 w 232"/>
                      <a:gd name="T63" fmla="*/ 108 h 232"/>
                      <a:gd name="T64" fmla="*/ 124 w 232"/>
                      <a:gd name="T65" fmla="*/ 94 h 232"/>
                      <a:gd name="T66" fmla="*/ 123 w 232"/>
                      <a:gd name="T67" fmla="*/ 123 h 232"/>
                      <a:gd name="T68" fmla="*/ 110 w 232"/>
                      <a:gd name="T69" fmla="*/ 123 h 232"/>
                      <a:gd name="T70" fmla="*/ 110 w 232"/>
                      <a:gd name="T71" fmla="*/ 109 h 232"/>
                      <a:gd name="T72" fmla="*/ 123 w 232"/>
                      <a:gd name="T73" fmla="*/ 109 h 232"/>
                      <a:gd name="T74" fmla="*/ 123 w 232"/>
                      <a:gd name="T75" fmla="*/ 12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2" h="232">
                        <a:moveTo>
                          <a:pt x="116" y="0"/>
                        </a:moveTo>
                        <a:cubicBezTo>
                          <a:pt x="52" y="0"/>
                          <a:pt x="0" y="52"/>
                          <a:pt x="0" y="116"/>
                        </a:cubicBezTo>
                        <a:cubicBezTo>
                          <a:pt x="0" y="180"/>
                          <a:pt x="52" y="232"/>
                          <a:pt x="116" y="232"/>
                        </a:cubicBezTo>
                        <a:cubicBezTo>
                          <a:pt x="180" y="232"/>
                          <a:pt x="232" y="180"/>
                          <a:pt x="232" y="116"/>
                        </a:cubicBezTo>
                        <a:cubicBezTo>
                          <a:pt x="232" y="52"/>
                          <a:pt x="180" y="0"/>
                          <a:pt x="116" y="0"/>
                        </a:cubicBezTo>
                        <a:close/>
                        <a:moveTo>
                          <a:pt x="129" y="208"/>
                        </a:moveTo>
                        <a:cubicBezTo>
                          <a:pt x="129" y="190"/>
                          <a:pt x="129" y="190"/>
                          <a:pt x="129" y="190"/>
                        </a:cubicBezTo>
                        <a:cubicBezTo>
                          <a:pt x="129" y="183"/>
                          <a:pt x="123" y="178"/>
                          <a:pt x="117" y="178"/>
                        </a:cubicBezTo>
                        <a:cubicBezTo>
                          <a:pt x="110" y="178"/>
                          <a:pt x="105" y="183"/>
                          <a:pt x="105" y="190"/>
                        </a:cubicBezTo>
                        <a:cubicBezTo>
                          <a:pt x="105" y="208"/>
                          <a:pt x="105" y="208"/>
                          <a:pt x="105" y="208"/>
                        </a:cubicBezTo>
                        <a:cubicBezTo>
                          <a:pt x="63" y="203"/>
                          <a:pt x="30" y="170"/>
                          <a:pt x="25" y="129"/>
                        </a:cubicBezTo>
                        <a:cubicBezTo>
                          <a:pt x="42" y="129"/>
                          <a:pt x="42" y="129"/>
                          <a:pt x="42" y="129"/>
                        </a:cubicBezTo>
                        <a:cubicBezTo>
                          <a:pt x="48" y="129"/>
                          <a:pt x="53" y="123"/>
                          <a:pt x="53" y="117"/>
                        </a:cubicBezTo>
                        <a:cubicBezTo>
                          <a:pt x="53" y="110"/>
                          <a:pt x="48" y="105"/>
                          <a:pt x="42" y="105"/>
                        </a:cubicBezTo>
                        <a:cubicBezTo>
                          <a:pt x="24" y="105"/>
                          <a:pt x="24" y="105"/>
                          <a:pt x="24" y="105"/>
                        </a:cubicBezTo>
                        <a:cubicBezTo>
                          <a:pt x="29" y="63"/>
                          <a:pt x="63" y="30"/>
                          <a:pt x="104" y="25"/>
                        </a:cubicBezTo>
                        <a:cubicBezTo>
                          <a:pt x="104" y="41"/>
                          <a:pt x="104" y="41"/>
                          <a:pt x="104" y="41"/>
                        </a:cubicBezTo>
                        <a:cubicBezTo>
                          <a:pt x="104" y="47"/>
                          <a:pt x="109" y="53"/>
                          <a:pt x="116" y="53"/>
                        </a:cubicBezTo>
                        <a:cubicBezTo>
                          <a:pt x="122" y="53"/>
                          <a:pt x="128" y="47"/>
                          <a:pt x="128" y="41"/>
                        </a:cubicBezTo>
                        <a:cubicBezTo>
                          <a:pt x="128" y="25"/>
                          <a:pt x="128" y="25"/>
                          <a:pt x="128" y="25"/>
                        </a:cubicBezTo>
                        <a:cubicBezTo>
                          <a:pt x="169" y="30"/>
                          <a:pt x="202" y="63"/>
                          <a:pt x="208" y="104"/>
                        </a:cubicBezTo>
                        <a:cubicBezTo>
                          <a:pt x="190" y="104"/>
                          <a:pt x="190" y="104"/>
                          <a:pt x="190" y="104"/>
                        </a:cubicBezTo>
                        <a:cubicBezTo>
                          <a:pt x="184" y="104"/>
                          <a:pt x="179" y="109"/>
                          <a:pt x="179" y="116"/>
                        </a:cubicBezTo>
                        <a:cubicBezTo>
                          <a:pt x="179" y="122"/>
                          <a:pt x="184" y="128"/>
                          <a:pt x="190" y="128"/>
                        </a:cubicBezTo>
                        <a:cubicBezTo>
                          <a:pt x="208" y="128"/>
                          <a:pt x="208" y="128"/>
                          <a:pt x="208" y="128"/>
                        </a:cubicBezTo>
                        <a:cubicBezTo>
                          <a:pt x="203" y="169"/>
                          <a:pt x="170" y="202"/>
                          <a:pt x="129" y="208"/>
                        </a:cubicBezTo>
                        <a:close/>
                        <a:moveTo>
                          <a:pt x="124" y="94"/>
                        </a:moveTo>
                        <a:cubicBezTo>
                          <a:pt x="70" y="69"/>
                          <a:pt x="70" y="69"/>
                          <a:pt x="70" y="69"/>
                        </a:cubicBezTo>
                        <a:cubicBezTo>
                          <a:pt x="94" y="124"/>
                          <a:pt x="94" y="124"/>
                          <a:pt x="94" y="124"/>
                        </a:cubicBezTo>
                        <a:cubicBezTo>
                          <a:pt x="97" y="129"/>
                          <a:pt x="103" y="136"/>
                          <a:pt x="109" y="138"/>
                        </a:cubicBezTo>
                        <a:cubicBezTo>
                          <a:pt x="163" y="163"/>
                          <a:pt x="163" y="163"/>
                          <a:pt x="163" y="163"/>
                        </a:cubicBezTo>
                        <a:cubicBezTo>
                          <a:pt x="138" y="108"/>
                          <a:pt x="138" y="108"/>
                          <a:pt x="138" y="108"/>
                        </a:cubicBezTo>
                        <a:cubicBezTo>
                          <a:pt x="136" y="103"/>
                          <a:pt x="130" y="96"/>
                          <a:pt x="124" y="94"/>
                        </a:cubicBezTo>
                        <a:close/>
                        <a:moveTo>
                          <a:pt x="123" y="123"/>
                        </a:moveTo>
                        <a:cubicBezTo>
                          <a:pt x="119" y="126"/>
                          <a:pt x="113" y="126"/>
                          <a:pt x="110" y="123"/>
                        </a:cubicBezTo>
                        <a:cubicBezTo>
                          <a:pt x="106" y="119"/>
                          <a:pt x="106" y="113"/>
                          <a:pt x="110" y="109"/>
                        </a:cubicBezTo>
                        <a:cubicBezTo>
                          <a:pt x="113" y="106"/>
                          <a:pt x="119" y="106"/>
                          <a:pt x="123" y="109"/>
                        </a:cubicBezTo>
                        <a:cubicBezTo>
                          <a:pt x="127" y="113"/>
                          <a:pt x="127" y="119"/>
                          <a:pt x="123" y="123"/>
                        </a:cubicBezTo>
                        <a:close/>
                      </a:path>
                    </a:pathLst>
                  </a:custGeom>
                  <a:solidFill>
                    <a:schemeClr val="tx2"/>
                  </a:solidFill>
                  <a:ln>
                    <a:noFill/>
                  </a:ln>
                </p:spPr>
                <p:txBody>
                  <a:bodyPr lIns="0" tIns="0" rIns="0" bIns="0" anchor="ctr"/>
                  <a:lstStyle/>
                  <a:p>
                    <a:pPr algn="ctr"/>
                    <a:endParaRPr>
                      <a:cs typeface="+mn-ea"/>
                      <a:sym typeface="+mn-lt"/>
                    </a:endParaRPr>
                  </a:p>
                </p:txBody>
              </p:sp>
              <p:grpSp>
                <p:nvGrpSpPr>
                  <p:cNvPr id="45" name="组合 44"/>
                  <p:cNvGrpSpPr/>
                  <p:nvPr/>
                </p:nvGrpSpPr>
                <p:grpSpPr>
                  <a:xfrm>
                    <a:off x="4669486" y="1775457"/>
                    <a:ext cx="2880320" cy="1229016"/>
                    <a:chOff x="4669486" y="1775457"/>
                    <a:chExt cx="2880320" cy="1229016"/>
                  </a:xfrm>
                </p:grpSpPr>
                <p:sp>
                  <p:nvSpPr>
                    <p:cNvPr id="19" name="Text4"/>
                    <p:cNvSpPr/>
                    <p:nvPr/>
                  </p:nvSpPr>
                  <p:spPr bwMode="auto">
                    <a:xfrm>
                      <a:off x="4669486" y="2332856"/>
                      <a:ext cx="2880320" cy="671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1">
                      <a:normAutofit/>
                    </a:bodyPr>
                    <a:lstStyle/>
                    <a:p>
                      <a:pPr algn="ctr">
                        <a:lnSpc>
                          <a:spcPct val="120000"/>
                        </a:lnSpc>
                      </a:pPr>
                      <a:r>
                        <a:rPr lang="zh-CN" altLang="en-US" sz="1200" dirty="0">
                          <a:cs typeface="+mn-ea"/>
                          <a:sym typeface="+mn-lt"/>
                        </a:rPr>
                        <a:t>请输入文本内容</a:t>
                      </a:r>
                      <a:endParaRPr lang="zh-CN" altLang="en-US" sz="1200" dirty="0">
                        <a:cs typeface="+mn-ea"/>
                        <a:sym typeface="+mn-lt"/>
                      </a:endParaRPr>
                    </a:p>
                  </p:txBody>
                </p:sp>
                <p:sp>
                  <p:nvSpPr>
                    <p:cNvPr id="20" name="Bullet4"/>
                    <p:cNvSpPr txBox="1"/>
                    <p:nvPr/>
                  </p:nvSpPr>
                  <p:spPr bwMode="auto">
                    <a:xfrm>
                      <a:off x="4669486" y="1775457"/>
                      <a:ext cx="2880320"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b" anchorCtr="1">
                      <a:normAutofit/>
                    </a:bodyPr>
                    <a:lstStyle/>
                    <a:p>
                      <a:pPr algn="ctr" eaLnBrk="1" hangingPunct="1">
                        <a:spcBef>
                          <a:spcPct val="0"/>
                        </a:spcBef>
                        <a:buFontTx/>
                        <a:buNone/>
                      </a:pPr>
                      <a:r>
                        <a:rPr lang="zh-CN" altLang="en-US" b="1" dirty="0">
                          <a:cs typeface="+mn-ea"/>
                          <a:sym typeface="+mn-lt"/>
                        </a:rPr>
                        <a:t>单击此处添加标题</a:t>
                      </a:r>
                      <a:endParaRPr lang="zh-CN" altLang="en-US" b="1" dirty="0">
                        <a:cs typeface="+mn-ea"/>
                        <a:sym typeface="+mn-lt"/>
                      </a:endParaRPr>
                    </a:p>
                  </p:txBody>
                </p:sp>
              </p:grpSp>
            </p:grpSp>
            <p:grpSp>
              <p:nvGrpSpPr>
                <p:cNvPr id="53" name="组合 52"/>
                <p:cNvGrpSpPr/>
                <p:nvPr/>
              </p:nvGrpSpPr>
              <p:grpSpPr>
                <a:xfrm>
                  <a:off x="6209179" y="4134162"/>
                  <a:ext cx="2647142" cy="1999938"/>
                  <a:chOff x="6209179" y="4134162"/>
                  <a:chExt cx="2647142" cy="1999938"/>
                </a:xfrm>
              </p:grpSpPr>
              <p:grpSp>
                <p:nvGrpSpPr>
                  <p:cNvPr id="37" name="组合 36"/>
                  <p:cNvGrpSpPr/>
                  <p:nvPr/>
                </p:nvGrpSpPr>
                <p:grpSpPr>
                  <a:xfrm>
                    <a:off x="7110940" y="4134162"/>
                    <a:ext cx="804672" cy="804672"/>
                    <a:chOff x="7144751" y="4134162"/>
                    <a:chExt cx="804672" cy="804672"/>
                  </a:xfrm>
                </p:grpSpPr>
                <p:sp>
                  <p:nvSpPr>
                    <p:cNvPr id="28" name="iṧḷídé"/>
                    <p:cNvSpPr/>
                    <p:nvPr/>
                  </p:nvSpPr>
                  <p:spPr bwMode="auto">
                    <a:xfrm>
                      <a:off x="7144751" y="4134162"/>
                      <a:ext cx="804672" cy="804672"/>
                    </a:xfrm>
                    <a:prstGeom prst="ellipse">
                      <a:avLst/>
                    </a:prstGeom>
                    <a:solidFill>
                      <a:schemeClr val="accent2">
                        <a:alpha val="80000"/>
                      </a:schemeClr>
                    </a:solidFill>
                    <a:ln w="9525">
                      <a:noFill/>
                      <a:round/>
                    </a:ln>
                  </p:spPr>
                  <p:txBody>
                    <a:bodyPr lIns="0" tIns="0" rIns="0" bIns="0" anchor="ctr"/>
                    <a:lstStyle/>
                    <a:p>
                      <a:pPr algn="ctr"/>
                      <a:endParaRPr>
                        <a:cs typeface="+mn-ea"/>
                        <a:sym typeface="+mn-lt"/>
                      </a:endParaRPr>
                    </a:p>
                  </p:txBody>
                </p:sp>
                <p:sp>
                  <p:nvSpPr>
                    <p:cNvPr id="33" name="Icon5"/>
                    <p:cNvSpPr/>
                    <p:nvPr/>
                  </p:nvSpPr>
                  <p:spPr bwMode="auto">
                    <a:xfrm>
                      <a:off x="7348159" y="4380424"/>
                      <a:ext cx="369182" cy="333894"/>
                    </a:xfrm>
                    <a:custGeom>
                      <a:avLst/>
                      <a:gdLst>
                        <a:gd name="connsiteX0" fmla="*/ 503202 w 607568"/>
                        <a:gd name="connsiteY0" fmla="*/ 459310 h 549494"/>
                        <a:gd name="connsiteX1" fmla="*/ 548364 w 607568"/>
                        <a:gd name="connsiteY1" fmla="*/ 504402 h 549494"/>
                        <a:gd name="connsiteX2" fmla="*/ 503202 w 607568"/>
                        <a:gd name="connsiteY2" fmla="*/ 549494 h 549494"/>
                        <a:gd name="connsiteX3" fmla="*/ 458040 w 607568"/>
                        <a:gd name="connsiteY3" fmla="*/ 504402 h 549494"/>
                        <a:gd name="connsiteX4" fmla="*/ 503202 w 607568"/>
                        <a:gd name="connsiteY4" fmla="*/ 459310 h 549494"/>
                        <a:gd name="connsiteX5" fmla="*/ 197795 w 607568"/>
                        <a:gd name="connsiteY5" fmla="*/ 459310 h 549494"/>
                        <a:gd name="connsiteX6" fmla="*/ 242957 w 607568"/>
                        <a:gd name="connsiteY6" fmla="*/ 504402 h 549494"/>
                        <a:gd name="connsiteX7" fmla="*/ 197795 w 607568"/>
                        <a:gd name="connsiteY7" fmla="*/ 549494 h 549494"/>
                        <a:gd name="connsiteX8" fmla="*/ 152633 w 607568"/>
                        <a:gd name="connsiteY8" fmla="*/ 504402 h 549494"/>
                        <a:gd name="connsiteX9" fmla="*/ 197795 w 607568"/>
                        <a:gd name="connsiteY9" fmla="*/ 459310 h 549494"/>
                        <a:gd name="connsiteX10" fmla="*/ 143318 w 607568"/>
                        <a:gd name="connsiteY10" fmla="*/ 390791 h 549494"/>
                        <a:gd name="connsiteX11" fmla="*/ 554573 w 607568"/>
                        <a:gd name="connsiteY11" fmla="*/ 390791 h 549494"/>
                        <a:gd name="connsiteX12" fmla="*/ 554573 w 607568"/>
                        <a:gd name="connsiteY12" fmla="*/ 437435 h 549494"/>
                        <a:gd name="connsiteX13" fmla="*/ 143318 w 607568"/>
                        <a:gd name="connsiteY13" fmla="*/ 437435 h 549494"/>
                        <a:gd name="connsiteX14" fmla="*/ 115304 w 607568"/>
                        <a:gd name="connsiteY14" fmla="*/ 313028 h 549494"/>
                        <a:gd name="connsiteX15" fmla="*/ 582659 w 607568"/>
                        <a:gd name="connsiteY15" fmla="*/ 313028 h 549494"/>
                        <a:gd name="connsiteX16" fmla="*/ 582659 w 607568"/>
                        <a:gd name="connsiteY16" fmla="*/ 359672 h 549494"/>
                        <a:gd name="connsiteX17" fmla="*/ 115304 w 607568"/>
                        <a:gd name="connsiteY17" fmla="*/ 359672 h 549494"/>
                        <a:gd name="connsiteX18" fmla="*/ 0 w 607568"/>
                        <a:gd name="connsiteY18" fmla="*/ 169922 h 549494"/>
                        <a:gd name="connsiteX19" fmla="*/ 78962 w 607568"/>
                        <a:gd name="connsiteY19" fmla="*/ 169922 h 549494"/>
                        <a:gd name="connsiteX20" fmla="*/ 108516 w 607568"/>
                        <a:gd name="connsiteY20" fmla="*/ 235254 h 549494"/>
                        <a:gd name="connsiteX21" fmla="*/ 607568 w 607568"/>
                        <a:gd name="connsiteY21" fmla="*/ 235254 h 549494"/>
                        <a:gd name="connsiteX22" fmla="*/ 607568 w 607568"/>
                        <a:gd name="connsiteY22" fmla="*/ 281909 h 549494"/>
                        <a:gd name="connsiteX23" fmla="*/ 78428 w 607568"/>
                        <a:gd name="connsiteY23" fmla="*/ 281909 h 549494"/>
                        <a:gd name="connsiteX24" fmla="*/ 48798 w 607568"/>
                        <a:gd name="connsiteY24" fmla="*/ 216577 h 549494"/>
                        <a:gd name="connsiteX25" fmla="*/ 0 w 607568"/>
                        <a:gd name="connsiteY25" fmla="*/ 216577 h 549494"/>
                        <a:gd name="connsiteX26" fmla="*/ 257720 w 607568"/>
                        <a:gd name="connsiteY26" fmla="*/ 0 h 549494"/>
                        <a:gd name="connsiteX27" fmla="*/ 254207 w 607568"/>
                        <a:gd name="connsiteY27" fmla="*/ 30201 h 549494"/>
                        <a:gd name="connsiteX28" fmla="*/ 407797 w 607568"/>
                        <a:gd name="connsiteY28" fmla="*/ 197372 h 549494"/>
                        <a:gd name="connsiteX29" fmla="*/ 241147 w 607568"/>
                        <a:gd name="connsiteY29" fmla="*/ 144063 h 549494"/>
                        <a:gd name="connsiteX30" fmla="*/ 237633 w 607568"/>
                        <a:gd name="connsiteY30" fmla="*/ 174264 h 549494"/>
                        <a:gd name="connsiteX31" fmla="*/ 115586 w 607568"/>
                        <a:gd name="connsiteY31" fmla="*/ 71993 h 549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07568" h="549494">
                          <a:moveTo>
                            <a:pt x="503202" y="459310"/>
                          </a:moveTo>
                          <a:cubicBezTo>
                            <a:pt x="528144" y="459310"/>
                            <a:pt x="548364" y="479498"/>
                            <a:pt x="548364" y="504402"/>
                          </a:cubicBezTo>
                          <a:cubicBezTo>
                            <a:pt x="548364" y="529306"/>
                            <a:pt x="528144" y="549494"/>
                            <a:pt x="503202" y="549494"/>
                          </a:cubicBezTo>
                          <a:cubicBezTo>
                            <a:pt x="478260" y="549494"/>
                            <a:pt x="458040" y="529306"/>
                            <a:pt x="458040" y="504402"/>
                          </a:cubicBezTo>
                          <a:cubicBezTo>
                            <a:pt x="458040" y="479498"/>
                            <a:pt x="478260" y="459310"/>
                            <a:pt x="503202" y="459310"/>
                          </a:cubicBezTo>
                          <a:close/>
                          <a:moveTo>
                            <a:pt x="197795" y="459310"/>
                          </a:moveTo>
                          <a:cubicBezTo>
                            <a:pt x="222737" y="459310"/>
                            <a:pt x="242957" y="479498"/>
                            <a:pt x="242957" y="504402"/>
                          </a:cubicBezTo>
                          <a:cubicBezTo>
                            <a:pt x="242957" y="529306"/>
                            <a:pt x="222737" y="549494"/>
                            <a:pt x="197795" y="549494"/>
                          </a:cubicBezTo>
                          <a:cubicBezTo>
                            <a:pt x="172853" y="549494"/>
                            <a:pt x="152633" y="529306"/>
                            <a:pt x="152633" y="504402"/>
                          </a:cubicBezTo>
                          <a:cubicBezTo>
                            <a:pt x="152633" y="479498"/>
                            <a:pt x="172853" y="459310"/>
                            <a:pt x="197795" y="459310"/>
                          </a:cubicBezTo>
                          <a:close/>
                          <a:moveTo>
                            <a:pt x="143318" y="390791"/>
                          </a:moveTo>
                          <a:lnTo>
                            <a:pt x="554573" y="390791"/>
                          </a:lnTo>
                          <a:lnTo>
                            <a:pt x="554573" y="437435"/>
                          </a:lnTo>
                          <a:lnTo>
                            <a:pt x="143318" y="437435"/>
                          </a:lnTo>
                          <a:close/>
                          <a:moveTo>
                            <a:pt x="115304" y="313028"/>
                          </a:moveTo>
                          <a:lnTo>
                            <a:pt x="582659" y="313028"/>
                          </a:lnTo>
                          <a:lnTo>
                            <a:pt x="582659" y="359672"/>
                          </a:lnTo>
                          <a:lnTo>
                            <a:pt x="115304" y="359672"/>
                          </a:lnTo>
                          <a:close/>
                          <a:moveTo>
                            <a:pt x="0" y="169922"/>
                          </a:moveTo>
                          <a:lnTo>
                            <a:pt x="78962" y="169922"/>
                          </a:lnTo>
                          <a:lnTo>
                            <a:pt x="108516" y="235254"/>
                          </a:lnTo>
                          <a:lnTo>
                            <a:pt x="607568" y="235254"/>
                          </a:lnTo>
                          <a:lnTo>
                            <a:pt x="607568" y="281909"/>
                          </a:lnTo>
                          <a:lnTo>
                            <a:pt x="78428" y="281909"/>
                          </a:lnTo>
                          <a:lnTo>
                            <a:pt x="48798" y="216577"/>
                          </a:lnTo>
                          <a:lnTo>
                            <a:pt x="0" y="216577"/>
                          </a:lnTo>
                          <a:close/>
                          <a:moveTo>
                            <a:pt x="257720" y="0"/>
                          </a:moveTo>
                          <a:lnTo>
                            <a:pt x="254207" y="30201"/>
                          </a:lnTo>
                          <a:cubicBezTo>
                            <a:pt x="405964" y="47665"/>
                            <a:pt x="407797" y="197372"/>
                            <a:pt x="407797" y="197372"/>
                          </a:cubicBezTo>
                          <a:cubicBezTo>
                            <a:pt x="407797" y="197372"/>
                            <a:pt x="364340" y="158248"/>
                            <a:pt x="241147" y="144063"/>
                          </a:cubicBezTo>
                          <a:lnTo>
                            <a:pt x="237633" y="174264"/>
                          </a:lnTo>
                          <a:lnTo>
                            <a:pt x="115586" y="71993"/>
                          </a:lnTo>
                          <a:close/>
                        </a:path>
                      </a:pathLst>
                    </a:custGeom>
                    <a:solidFill>
                      <a:srgbClr val="FFFFFF"/>
                    </a:solidFill>
                    <a:ln>
                      <a:noFill/>
                    </a:ln>
                  </p:spPr>
                  <p:txBody>
                    <a:bodyPr lIns="0" tIns="0" rIns="0" bIns="0" anchor="ctr"/>
                    <a:lstStyle/>
                    <a:p>
                      <a:pPr algn="ctr"/>
                      <a:endParaRPr>
                        <a:cs typeface="+mn-ea"/>
                        <a:sym typeface="+mn-lt"/>
                      </a:endParaRPr>
                    </a:p>
                  </p:txBody>
                </p:sp>
              </p:grpSp>
              <p:grpSp>
                <p:nvGrpSpPr>
                  <p:cNvPr id="46" name="组合 45"/>
                  <p:cNvGrpSpPr/>
                  <p:nvPr/>
                </p:nvGrpSpPr>
                <p:grpSpPr>
                  <a:xfrm>
                    <a:off x="6209179" y="4960580"/>
                    <a:ext cx="2647142" cy="1173520"/>
                    <a:chOff x="6209179" y="4960580"/>
                    <a:chExt cx="2647142" cy="1173520"/>
                  </a:xfrm>
                </p:grpSpPr>
                <p:sp>
                  <p:nvSpPr>
                    <p:cNvPr id="9" name="Bullet5"/>
                    <p:cNvSpPr txBox="1"/>
                    <p:nvPr/>
                  </p:nvSpPr>
                  <p:spPr>
                    <a:xfrm>
                      <a:off x="6209179" y="4960580"/>
                      <a:ext cx="2647142" cy="543644"/>
                    </a:xfrm>
                    <a:prstGeom prst="rect">
                      <a:avLst/>
                    </a:prstGeom>
                    <a:noFill/>
                  </p:spPr>
                  <p:txBody>
                    <a:bodyPr wrap="square" lIns="90000" tIns="46800" rIns="90000" bIns="46800" anchor="b" anchorCtr="1">
                      <a:normAutofit/>
                    </a:bodyPr>
                    <a:lstStyle/>
                    <a:p>
                      <a:pPr algn="ctr"/>
                      <a:r>
                        <a:rPr lang="zh-CN" altLang="en-US" b="1" dirty="0">
                          <a:cs typeface="+mn-ea"/>
                          <a:sym typeface="+mn-lt"/>
                        </a:rPr>
                        <a:t>单击此处添加标题</a:t>
                      </a:r>
                      <a:endParaRPr lang="zh-CN" altLang="en-US" b="1" dirty="0">
                        <a:cs typeface="+mn-ea"/>
                        <a:sym typeface="+mn-lt"/>
                      </a:endParaRPr>
                    </a:p>
                  </p:txBody>
                </p:sp>
                <p:sp>
                  <p:nvSpPr>
                    <p:cNvPr id="10" name="Text5"/>
                    <p:cNvSpPr txBox="1"/>
                    <p:nvPr/>
                  </p:nvSpPr>
                  <p:spPr>
                    <a:xfrm>
                      <a:off x="6209179" y="5503921"/>
                      <a:ext cx="2647142" cy="630179"/>
                    </a:xfrm>
                    <a:prstGeom prst="rect">
                      <a:avLst/>
                    </a:prstGeom>
                    <a:noFill/>
                  </p:spPr>
                  <p:txBody>
                    <a:bodyPr wrap="square" lIns="90000" tIns="46800" rIns="90000" bIns="46800" anchor="t" anchorCtr="1">
                      <a:normAutofit/>
                    </a:bodyPr>
                    <a:lstStyle/>
                    <a:p>
                      <a:pPr algn="ctr">
                        <a:lnSpc>
                          <a:spcPct val="120000"/>
                        </a:lnSpc>
                      </a:pPr>
                      <a:r>
                        <a:rPr lang="zh-CN" altLang="en-US" sz="1200" dirty="0">
                          <a:cs typeface="+mn-ea"/>
                          <a:sym typeface="+mn-lt"/>
                        </a:rPr>
                        <a:t>请输入文本内容</a:t>
                      </a:r>
                      <a:endParaRPr lang="zh-CN" altLang="en-US" sz="1200" dirty="0">
                        <a:cs typeface="+mn-ea"/>
                        <a:sym typeface="+mn-lt"/>
                      </a:endParaRPr>
                    </a:p>
                  </p:txBody>
                </p:sp>
              </p:grpSp>
            </p:grpSp>
            <p:grpSp>
              <p:nvGrpSpPr>
                <p:cNvPr id="54" name="组合 53"/>
                <p:cNvGrpSpPr/>
                <p:nvPr/>
              </p:nvGrpSpPr>
              <p:grpSpPr>
                <a:xfrm>
                  <a:off x="7539573" y="1775457"/>
                  <a:ext cx="2880320" cy="1927158"/>
                  <a:chOff x="7539573" y="1775457"/>
                  <a:chExt cx="2880320" cy="1927158"/>
                </a:xfrm>
              </p:grpSpPr>
              <p:sp>
                <p:nvSpPr>
                  <p:cNvPr id="16" name="Icon6"/>
                  <p:cNvSpPr/>
                  <p:nvPr/>
                </p:nvSpPr>
                <p:spPr bwMode="auto">
                  <a:xfrm>
                    <a:off x="8821518" y="3360631"/>
                    <a:ext cx="320610" cy="341984"/>
                  </a:xfrm>
                  <a:custGeom>
                    <a:avLst/>
                    <a:gdLst>
                      <a:gd name="connsiteX0" fmla="*/ 69646 w 508000"/>
                      <a:gd name="connsiteY0" fmla="*/ 394096 h 478080"/>
                      <a:gd name="connsiteX1" fmla="*/ 438355 w 508000"/>
                      <a:gd name="connsiteY1" fmla="*/ 394096 h 478080"/>
                      <a:gd name="connsiteX2" fmla="*/ 438355 w 508000"/>
                      <a:gd name="connsiteY2" fmla="*/ 422773 h 478080"/>
                      <a:gd name="connsiteX3" fmla="*/ 473178 w 508000"/>
                      <a:gd name="connsiteY3" fmla="*/ 422773 h 478080"/>
                      <a:gd name="connsiteX4" fmla="*/ 473178 w 508000"/>
                      <a:gd name="connsiteY4" fmla="*/ 447354 h 478080"/>
                      <a:gd name="connsiteX5" fmla="*/ 497758 w 508000"/>
                      <a:gd name="connsiteY5" fmla="*/ 447354 h 478080"/>
                      <a:gd name="connsiteX6" fmla="*/ 497758 w 508000"/>
                      <a:gd name="connsiteY6" fmla="*/ 478080 h 478080"/>
                      <a:gd name="connsiteX7" fmla="*/ 14339 w 508000"/>
                      <a:gd name="connsiteY7" fmla="*/ 478080 h 478080"/>
                      <a:gd name="connsiteX8" fmla="*/ 14339 w 508000"/>
                      <a:gd name="connsiteY8" fmla="*/ 447354 h 478080"/>
                      <a:gd name="connsiteX9" fmla="*/ 38920 w 508000"/>
                      <a:gd name="connsiteY9" fmla="*/ 447354 h 478080"/>
                      <a:gd name="connsiteX10" fmla="*/ 38920 w 508000"/>
                      <a:gd name="connsiteY10" fmla="*/ 422773 h 478080"/>
                      <a:gd name="connsiteX11" fmla="*/ 69646 w 508000"/>
                      <a:gd name="connsiteY11" fmla="*/ 422773 h 478080"/>
                      <a:gd name="connsiteX12" fmla="*/ 362031 w 508000"/>
                      <a:gd name="connsiteY12" fmla="*/ 193354 h 478080"/>
                      <a:gd name="connsiteX13" fmla="*/ 436842 w 508000"/>
                      <a:gd name="connsiteY13" fmla="*/ 193354 h 478080"/>
                      <a:gd name="connsiteX14" fmla="*/ 456791 w 508000"/>
                      <a:gd name="connsiteY14" fmla="*/ 213383 h 478080"/>
                      <a:gd name="connsiteX15" fmla="*/ 456791 w 508000"/>
                      <a:gd name="connsiteY15" fmla="*/ 233411 h 478080"/>
                      <a:gd name="connsiteX16" fmla="*/ 436842 w 508000"/>
                      <a:gd name="connsiteY16" fmla="*/ 233411 h 478080"/>
                      <a:gd name="connsiteX17" fmla="*/ 436842 w 508000"/>
                      <a:gd name="connsiteY17" fmla="*/ 373612 h 478080"/>
                      <a:gd name="connsiteX18" fmla="*/ 362031 w 508000"/>
                      <a:gd name="connsiteY18" fmla="*/ 373612 h 478080"/>
                      <a:gd name="connsiteX19" fmla="*/ 362031 w 508000"/>
                      <a:gd name="connsiteY19" fmla="*/ 233411 h 478080"/>
                      <a:gd name="connsiteX20" fmla="*/ 342081 w 508000"/>
                      <a:gd name="connsiteY20" fmla="*/ 233411 h 478080"/>
                      <a:gd name="connsiteX21" fmla="*/ 342081 w 508000"/>
                      <a:gd name="connsiteY21" fmla="*/ 213383 h 478080"/>
                      <a:gd name="connsiteX22" fmla="*/ 362031 w 508000"/>
                      <a:gd name="connsiteY22" fmla="*/ 193354 h 478080"/>
                      <a:gd name="connsiteX23" fmla="*/ 218644 w 508000"/>
                      <a:gd name="connsiteY23" fmla="*/ 193354 h 478080"/>
                      <a:gd name="connsiteX24" fmla="*/ 293455 w 508000"/>
                      <a:gd name="connsiteY24" fmla="*/ 193354 h 478080"/>
                      <a:gd name="connsiteX25" fmla="*/ 313404 w 508000"/>
                      <a:gd name="connsiteY25" fmla="*/ 213383 h 478080"/>
                      <a:gd name="connsiteX26" fmla="*/ 313404 w 508000"/>
                      <a:gd name="connsiteY26" fmla="*/ 233411 h 478080"/>
                      <a:gd name="connsiteX27" fmla="*/ 293455 w 508000"/>
                      <a:gd name="connsiteY27" fmla="*/ 233411 h 478080"/>
                      <a:gd name="connsiteX28" fmla="*/ 293455 w 508000"/>
                      <a:gd name="connsiteY28" fmla="*/ 373612 h 478080"/>
                      <a:gd name="connsiteX29" fmla="*/ 213656 w 508000"/>
                      <a:gd name="connsiteY29" fmla="*/ 373612 h 478080"/>
                      <a:gd name="connsiteX30" fmla="*/ 213656 w 508000"/>
                      <a:gd name="connsiteY30" fmla="*/ 233411 h 478080"/>
                      <a:gd name="connsiteX31" fmla="*/ 198694 w 508000"/>
                      <a:gd name="connsiteY31" fmla="*/ 233411 h 478080"/>
                      <a:gd name="connsiteX32" fmla="*/ 198694 w 508000"/>
                      <a:gd name="connsiteY32" fmla="*/ 213383 h 478080"/>
                      <a:gd name="connsiteX33" fmla="*/ 218644 w 508000"/>
                      <a:gd name="connsiteY33" fmla="*/ 193354 h 478080"/>
                      <a:gd name="connsiteX34" fmla="*/ 73208 w 508000"/>
                      <a:gd name="connsiteY34" fmla="*/ 193354 h 478080"/>
                      <a:gd name="connsiteX35" fmla="*/ 148019 w 508000"/>
                      <a:gd name="connsiteY35" fmla="*/ 193354 h 478080"/>
                      <a:gd name="connsiteX36" fmla="*/ 167968 w 508000"/>
                      <a:gd name="connsiteY36" fmla="*/ 213383 h 478080"/>
                      <a:gd name="connsiteX37" fmla="*/ 167968 w 508000"/>
                      <a:gd name="connsiteY37" fmla="*/ 233411 h 478080"/>
                      <a:gd name="connsiteX38" fmla="*/ 148019 w 508000"/>
                      <a:gd name="connsiteY38" fmla="*/ 233411 h 478080"/>
                      <a:gd name="connsiteX39" fmla="*/ 148019 w 508000"/>
                      <a:gd name="connsiteY39" fmla="*/ 373612 h 478080"/>
                      <a:gd name="connsiteX40" fmla="*/ 73208 w 508000"/>
                      <a:gd name="connsiteY40" fmla="*/ 373612 h 478080"/>
                      <a:gd name="connsiteX41" fmla="*/ 73208 w 508000"/>
                      <a:gd name="connsiteY41" fmla="*/ 233411 h 478080"/>
                      <a:gd name="connsiteX42" fmla="*/ 53258 w 508000"/>
                      <a:gd name="connsiteY42" fmla="*/ 233411 h 478080"/>
                      <a:gd name="connsiteX43" fmla="*/ 53258 w 508000"/>
                      <a:gd name="connsiteY43" fmla="*/ 213383 h 478080"/>
                      <a:gd name="connsiteX44" fmla="*/ 73208 w 508000"/>
                      <a:gd name="connsiteY44" fmla="*/ 193354 h 478080"/>
                      <a:gd name="connsiteX45" fmla="*/ 234079 w 508000"/>
                      <a:gd name="connsiteY45" fmla="*/ 68402 h 478080"/>
                      <a:gd name="connsiteX46" fmla="*/ 169334 w 508000"/>
                      <a:gd name="connsiteY46" fmla="*/ 108199 h 478080"/>
                      <a:gd name="connsiteX47" fmla="*/ 169334 w 508000"/>
                      <a:gd name="connsiteY47" fmla="*/ 113174 h 478080"/>
                      <a:gd name="connsiteX48" fmla="*/ 174314 w 508000"/>
                      <a:gd name="connsiteY48" fmla="*/ 113174 h 478080"/>
                      <a:gd name="connsiteX49" fmla="*/ 333687 w 508000"/>
                      <a:gd name="connsiteY49" fmla="*/ 113174 h 478080"/>
                      <a:gd name="connsiteX50" fmla="*/ 338667 w 508000"/>
                      <a:gd name="connsiteY50" fmla="*/ 113174 h 478080"/>
                      <a:gd name="connsiteX51" fmla="*/ 338667 w 508000"/>
                      <a:gd name="connsiteY51" fmla="*/ 108199 h 478080"/>
                      <a:gd name="connsiteX52" fmla="*/ 273922 w 508000"/>
                      <a:gd name="connsiteY52" fmla="*/ 68402 h 478080"/>
                      <a:gd name="connsiteX53" fmla="*/ 234079 w 508000"/>
                      <a:gd name="connsiteY53" fmla="*/ 68402 h 478080"/>
                      <a:gd name="connsiteX54" fmla="*/ 234079 w 508000"/>
                      <a:gd name="connsiteY54" fmla="*/ 3732 h 478080"/>
                      <a:gd name="connsiteX55" fmla="*/ 273922 w 508000"/>
                      <a:gd name="connsiteY55" fmla="*/ 3732 h 478080"/>
                      <a:gd name="connsiteX56" fmla="*/ 488079 w 508000"/>
                      <a:gd name="connsiteY56" fmla="*/ 123123 h 478080"/>
                      <a:gd name="connsiteX57" fmla="*/ 508000 w 508000"/>
                      <a:gd name="connsiteY57" fmla="*/ 157946 h 478080"/>
                      <a:gd name="connsiteX58" fmla="*/ 508000 w 508000"/>
                      <a:gd name="connsiteY58" fmla="*/ 172870 h 478080"/>
                      <a:gd name="connsiteX59" fmla="*/ 0 w 508000"/>
                      <a:gd name="connsiteY59" fmla="*/ 172870 h 478080"/>
                      <a:gd name="connsiteX60" fmla="*/ 0 w 508000"/>
                      <a:gd name="connsiteY60" fmla="*/ 157946 h 478080"/>
                      <a:gd name="connsiteX61" fmla="*/ 19922 w 508000"/>
                      <a:gd name="connsiteY61" fmla="*/ 123123 h 478080"/>
                      <a:gd name="connsiteX62" fmla="*/ 234079 w 508000"/>
                      <a:gd name="connsiteY62" fmla="*/ 3732 h 47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08000" h="478080">
                        <a:moveTo>
                          <a:pt x="69646" y="394096"/>
                        </a:moveTo>
                        <a:lnTo>
                          <a:pt x="438355" y="394096"/>
                        </a:lnTo>
                        <a:lnTo>
                          <a:pt x="438355" y="422773"/>
                        </a:lnTo>
                        <a:lnTo>
                          <a:pt x="473178" y="422773"/>
                        </a:lnTo>
                        <a:lnTo>
                          <a:pt x="473178" y="447354"/>
                        </a:lnTo>
                        <a:lnTo>
                          <a:pt x="497758" y="447354"/>
                        </a:lnTo>
                        <a:lnTo>
                          <a:pt x="497758" y="478080"/>
                        </a:lnTo>
                        <a:lnTo>
                          <a:pt x="14339" y="478080"/>
                        </a:lnTo>
                        <a:lnTo>
                          <a:pt x="14339" y="447354"/>
                        </a:lnTo>
                        <a:lnTo>
                          <a:pt x="38920" y="447354"/>
                        </a:lnTo>
                        <a:lnTo>
                          <a:pt x="38920" y="422773"/>
                        </a:lnTo>
                        <a:lnTo>
                          <a:pt x="69646" y="422773"/>
                        </a:lnTo>
                        <a:close/>
                        <a:moveTo>
                          <a:pt x="362031" y="193354"/>
                        </a:moveTo>
                        <a:cubicBezTo>
                          <a:pt x="362031" y="193354"/>
                          <a:pt x="362031" y="193354"/>
                          <a:pt x="436842" y="193354"/>
                        </a:cubicBezTo>
                        <a:cubicBezTo>
                          <a:pt x="446816" y="193354"/>
                          <a:pt x="456791" y="203368"/>
                          <a:pt x="456791" y="213383"/>
                        </a:cubicBezTo>
                        <a:cubicBezTo>
                          <a:pt x="456791" y="213383"/>
                          <a:pt x="456791" y="213383"/>
                          <a:pt x="456791" y="233411"/>
                        </a:cubicBezTo>
                        <a:cubicBezTo>
                          <a:pt x="456791" y="233411"/>
                          <a:pt x="456791" y="233411"/>
                          <a:pt x="436842" y="233411"/>
                        </a:cubicBezTo>
                        <a:cubicBezTo>
                          <a:pt x="436842" y="233411"/>
                          <a:pt x="436842" y="233411"/>
                          <a:pt x="436842" y="373612"/>
                        </a:cubicBezTo>
                        <a:lnTo>
                          <a:pt x="362031" y="373612"/>
                        </a:lnTo>
                        <a:cubicBezTo>
                          <a:pt x="362031" y="373612"/>
                          <a:pt x="362031" y="373612"/>
                          <a:pt x="362031" y="233411"/>
                        </a:cubicBezTo>
                        <a:cubicBezTo>
                          <a:pt x="362031" y="233411"/>
                          <a:pt x="362031" y="233411"/>
                          <a:pt x="342081" y="233411"/>
                        </a:cubicBezTo>
                        <a:cubicBezTo>
                          <a:pt x="342081" y="233411"/>
                          <a:pt x="342081" y="233411"/>
                          <a:pt x="342081" y="213383"/>
                        </a:cubicBezTo>
                        <a:cubicBezTo>
                          <a:pt x="342081" y="203368"/>
                          <a:pt x="352056" y="193354"/>
                          <a:pt x="362031" y="193354"/>
                        </a:cubicBezTo>
                        <a:close/>
                        <a:moveTo>
                          <a:pt x="218644" y="193354"/>
                        </a:moveTo>
                        <a:cubicBezTo>
                          <a:pt x="218644" y="193354"/>
                          <a:pt x="218644" y="193354"/>
                          <a:pt x="293455" y="193354"/>
                        </a:cubicBezTo>
                        <a:cubicBezTo>
                          <a:pt x="303429" y="193354"/>
                          <a:pt x="313404" y="203368"/>
                          <a:pt x="313404" y="213383"/>
                        </a:cubicBezTo>
                        <a:cubicBezTo>
                          <a:pt x="313404" y="213383"/>
                          <a:pt x="313404" y="213383"/>
                          <a:pt x="313404" y="233411"/>
                        </a:cubicBezTo>
                        <a:cubicBezTo>
                          <a:pt x="313404" y="233411"/>
                          <a:pt x="313404" y="233411"/>
                          <a:pt x="293455" y="233411"/>
                        </a:cubicBezTo>
                        <a:cubicBezTo>
                          <a:pt x="293455" y="233411"/>
                          <a:pt x="293455" y="233411"/>
                          <a:pt x="293455" y="373612"/>
                        </a:cubicBezTo>
                        <a:lnTo>
                          <a:pt x="213656" y="373612"/>
                        </a:lnTo>
                        <a:cubicBezTo>
                          <a:pt x="213656" y="373612"/>
                          <a:pt x="213656" y="373612"/>
                          <a:pt x="213656" y="233411"/>
                        </a:cubicBezTo>
                        <a:cubicBezTo>
                          <a:pt x="213656" y="233411"/>
                          <a:pt x="213656" y="233411"/>
                          <a:pt x="198694" y="233411"/>
                        </a:cubicBezTo>
                        <a:cubicBezTo>
                          <a:pt x="198694" y="233411"/>
                          <a:pt x="198694" y="233411"/>
                          <a:pt x="198694" y="213383"/>
                        </a:cubicBezTo>
                        <a:cubicBezTo>
                          <a:pt x="198694" y="203368"/>
                          <a:pt x="208669" y="193354"/>
                          <a:pt x="218644" y="193354"/>
                        </a:cubicBezTo>
                        <a:close/>
                        <a:moveTo>
                          <a:pt x="73208" y="193354"/>
                        </a:moveTo>
                        <a:cubicBezTo>
                          <a:pt x="73208" y="193354"/>
                          <a:pt x="73208" y="193354"/>
                          <a:pt x="148019" y="193354"/>
                        </a:cubicBezTo>
                        <a:cubicBezTo>
                          <a:pt x="157993" y="193354"/>
                          <a:pt x="167968" y="203368"/>
                          <a:pt x="167968" y="213383"/>
                        </a:cubicBezTo>
                        <a:cubicBezTo>
                          <a:pt x="167968" y="213383"/>
                          <a:pt x="167968" y="213383"/>
                          <a:pt x="167968" y="233411"/>
                        </a:cubicBezTo>
                        <a:cubicBezTo>
                          <a:pt x="167968" y="233411"/>
                          <a:pt x="167968" y="233411"/>
                          <a:pt x="148019" y="233411"/>
                        </a:cubicBezTo>
                        <a:cubicBezTo>
                          <a:pt x="148019" y="233411"/>
                          <a:pt x="148019" y="233411"/>
                          <a:pt x="148019" y="373612"/>
                        </a:cubicBezTo>
                        <a:lnTo>
                          <a:pt x="73208" y="373612"/>
                        </a:lnTo>
                        <a:cubicBezTo>
                          <a:pt x="73208" y="373612"/>
                          <a:pt x="73208" y="373612"/>
                          <a:pt x="73208" y="233411"/>
                        </a:cubicBezTo>
                        <a:cubicBezTo>
                          <a:pt x="73208" y="233411"/>
                          <a:pt x="73208" y="233411"/>
                          <a:pt x="53258" y="233411"/>
                        </a:cubicBezTo>
                        <a:cubicBezTo>
                          <a:pt x="53258" y="233411"/>
                          <a:pt x="53258" y="233411"/>
                          <a:pt x="53258" y="213383"/>
                        </a:cubicBezTo>
                        <a:cubicBezTo>
                          <a:pt x="53258" y="203368"/>
                          <a:pt x="63233" y="193354"/>
                          <a:pt x="73208" y="193354"/>
                        </a:cubicBezTo>
                        <a:close/>
                        <a:moveTo>
                          <a:pt x="234079" y="68402"/>
                        </a:moveTo>
                        <a:cubicBezTo>
                          <a:pt x="234079" y="68402"/>
                          <a:pt x="234079" y="68402"/>
                          <a:pt x="169334" y="108199"/>
                        </a:cubicBezTo>
                        <a:cubicBezTo>
                          <a:pt x="169334" y="108199"/>
                          <a:pt x="169334" y="108199"/>
                          <a:pt x="169334" y="113174"/>
                        </a:cubicBezTo>
                        <a:cubicBezTo>
                          <a:pt x="169334" y="113174"/>
                          <a:pt x="169334" y="113174"/>
                          <a:pt x="174314" y="113174"/>
                        </a:cubicBezTo>
                        <a:lnTo>
                          <a:pt x="333687" y="113174"/>
                        </a:lnTo>
                        <a:cubicBezTo>
                          <a:pt x="338667" y="113174"/>
                          <a:pt x="338667" y="113174"/>
                          <a:pt x="338667" y="113174"/>
                        </a:cubicBezTo>
                        <a:cubicBezTo>
                          <a:pt x="338667" y="108199"/>
                          <a:pt x="338667" y="108199"/>
                          <a:pt x="338667" y="108199"/>
                        </a:cubicBezTo>
                        <a:cubicBezTo>
                          <a:pt x="338667" y="108199"/>
                          <a:pt x="338667" y="108199"/>
                          <a:pt x="273922" y="68402"/>
                        </a:cubicBezTo>
                        <a:cubicBezTo>
                          <a:pt x="258981" y="63428"/>
                          <a:pt x="249020" y="63428"/>
                          <a:pt x="234079" y="68402"/>
                        </a:cubicBezTo>
                        <a:close/>
                        <a:moveTo>
                          <a:pt x="234079" y="3732"/>
                        </a:moveTo>
                        <a:cubicBezTo>
                          <a:pt x="249020" y="-1243"/>
                          <a:pt x="258981" y="-1243"/>
                          <a:pt x="273922" y="3732"/>
                        </a:cubicBezTo>
                        <a:lnTo>
                          <a:pt x="488079" y="123123"/>
                        </a:lnTo>
                        <a:cubicBezTo>
                          <a:pt x="498039" y="128098"/>
                          <a:pt x="508000" y="143022"/>
                          <a:pt x="508000" y="157946"/>
                        </a:cubicBezTo>
                        <a:cubicBezTo>
                          <a:pt x="508000" y="157946"/>
                          <a:pt x="508000" y="157946"/>
                          <a:pt x="508000" y="172870"/>
                        </a:cubicBezTo>
                        <a:cubicBezTo>
                          <a:pt x="508000" y="172870"/>
                          <a:pt x="508000" y="172870"/>
                          <a:pt x="0" y="172870"/>
                        </a:cubicBezTo>
                        <a:cubicBezTo>
                          <a:pt x="0" y="172870"/>
                          <a:pt x="0" y="172870"/>
                          <a:pt x="0" y="157946"/>
                        </a:cubicBezTo>
                        <a:cubicBezTo>
                          <a:pt x="0" y="143022"/>
                          <a:pt x="9961" y="128098"/>
                          <a:pt x="19922" y="123123"/>
                        </a:cubicBezTo>
                        <a:cubicBezTo>
                          <a:pt x="19922" y="123123"/>
                          <a:pt x="19922" y="123123"/>
                          <a:pt x="234079" y="3732"/>
                        </a:cubicBezTo>
                        <a:close/>
                      </a:path>
                    </a:pathLst>
                  </a:custGeom>
                  <a:solidFill>
                    <a:schemeClr val="tx2"/>
                  </a:solidFill>
                  <a:ln>
                    <a:noFill/>
                  </a:ln>
                </p:spPr>
                <p:txBody>
                  <a:bodyPr lIns="0" tIns="0" rIns="0" bIns="0" anchor="ctr"/>
                  <a:lstStyle/>
                  <a:p>
                    <a:pPr algn="ctr"/>
                    <a:endParaRPr>
                      <a:cs typeface="+mn-ea"/>
                      <a:sym typeface="+mn-lt"/>
                    </a:endParaRPr>
                  </a:p>
                </p:txBody>
              </p:sp>
              <p:grpSp>
                <p:nvGrpSpPr>
                  <p:cNvPr id="47" name="组合 46"/>
                  <p:cNvGrpSpPr/>
                  <p:nvPr/>
                </p:nvGrpSpPr>
                <p:grpSpPr>
                  <a:xfrm>
                    <a:off x="7539573" y="1775457"/>
                    <a:ext cx="2880320" cy="1229016"/>
                    <a:chOff x="7539573" y="1775457"/>
                    <a:chExt cx="2880320" cy="1229016"/>
                  </a:xfrm>
                </p:grpSpPr>
                <p:sp>
                  <p:nvSpPr>
                    <p:cNvPr id="21" name="Text6"/>
                    <p:cNvSpPr/>
                    <p:nvPr/>
                  </p:nvSpPr>
                  <p:spPr bwMode="auto">
                    <a:xfrm>
                      <a:off x="7539573" y="2332856"/>
                      <a:ext cx="2880320" cy="671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1">
                      <a:normAutofit/>
                    </a:bodyPr>
                    <a:lstStyle/>
                    <a:p>
                      <a:pPr algn="ctr">
                        <a:lnSpc>
                          <a:spcPct val="120000"/>
                        </a:lnSpc>
                      </a:pPr>
                      <a:r>
                        <a:rPr lang="zh-CN" altLang="en-US" sz="1200" dirty="0">
                          <a:cs typeface="+mn-ea"/>
                          <a:sym typeface="+mn-lt"/>
                        </a:rPr>
                        <a:t>请输入文本内容</a:t>
                      </a:r>
                      <a:endParaRPr lang="zh-CN" altLang="en-US" sz="1200" dirty="0">
                        <a:cs typeface="+mn-ea"/>
                        <a:sym typeface="+mn-lt"/>
                      </a:endParaRPr>
                    </a:p>
                  </p:txBody>
                </p:sp>
                <p:sp>
                  <p:nvSpPr>
                    <p:cNvPr id="22" name="Bullet6"/>
                    <p:cNvSpPr txBox="1"/>
                    <p:nvPr/>
                  </p:nvSpPr>
                  <p:spPr bwMode="auto">
                    <a:xfrm>
                      <a:off x="7539573" y="1775457"/>
                      <a:ext cx="2880320"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b" anchorCtr="1">
                      <a:normAutofit/>
                    </a:bodyPr>
                    <a:lstStyle/>
                    <a:p>
                      <a:pPr algn="ctr" eaLnBrk="1" hangingPunct="1">
                        <a:spcBef>
                          <a:spcPct val="0"/>
                        </a:spcBef>
                        <a:buFontTx/>
                        <a:buNone/>
                      </a:pPr>
                      <a:r>
                        <a:rPr lang="zh-CN" altLang="en-US" b="1" dirty="0">
                          <a:cs typeface="+mn-ea"/>
                          <a:sym typeface="+mn-lt"/>
                        </a:rPr>
                        <a:t>单击此处添加标题</a:t>
                      </a:r>
                      <a:endParaRPr lang="zh-CN" altLang="en-US" b="1" dirty="0">
                        <a:cs typeface="+mn-ea"/>
                        <a:sym typeface="+mn-lt"/>
                      </a:endParaRPr>
                    </a:p>
                  </p:txBody>
                </p:sp>
              </p:grpSp>
            </p:grpSp>
            <p:grpSp>
              <p:nvGrpSpPr>
                <p:cNvPr id="55" name="组合 54"/>
                <p:cNvGrpSpPr/>
                <p:nvPr/>
              </p:nvGrpSpPr>
              <p:grpSpPr>
                <a:xfrm>
                  <a:off x="8871757" y="4134162"/>
                  <a:ext cx="2647142" cy="1999635"/>
                  <a:chOff x="8871757" y="4134162"/>
                  <a:chExt cx="2647142" cy="1999635"/>
                </a:xfrm>
              </p:grpSpPr>
              <p:grpSp>
                <p:nvGrpSpPr>
                  <p:cNvPr id="48" name="组合 47"/>
                  <p:cNvGrpSpPr/>
                  <p:nvPr/>
                </p:nvGrpSpPr>
                <p:grpSpPr>
                  <a:xfrm>
                    <a:off x="8871757" y="4960277"/>
                    <a:ext cx="2647142" cy="1173520"/>
                    <a:chOff x="8871757" y="4960277"/>
                    <a:chExt cx="2647142" cy="1173520"/>
                  </a:xfrm>
                </p:grpSpPr>
                <p:sp>
                  <p:nvSpPr>
                    <p:cNvPr id="7" name="Bullet7"/>
                    <p:cNvSpPr txBox="1"/>
                    <p:nvPr/>
                  </p:nvSpPr>
                  <p:spPr>
                    <a:xfrm>
                      <a:off x="8871757" y="4960277"/>
                      <a:ext cx="2647142" cy="543644"/>
                    </a:xfrm>
                    <a:prstGeom prst="rect">
                      <a:avLst/>
                    </a:prstGeom>
                    <a:noFill/>
                  </p:spPr>
                  <p:txBody>
                    <a:bodyPr wrap="square" lIns="90000" tIns="46800" rIns="90000" bIns="46800" anchor="b" anchorCtr="1">
                      <a:normAutofit/>
                    </a:bodyPr>
                    <a:lstStyle/>
                    <a:p>
                      <a:pPr algn="ctr"/>
                      <a:r>
                        <a:rPr lang="zh-CN" altLang="en-US" b="1" dirty="0">
                          <a:solidFill>
                            <a:schemeClr val="accent1"/>
                          </a:solidFill>
                          <a:cs typeface="+mn-ea"/>
                          <a:sym typeface="+mn-lt"/>
                        </a:rPr>
                        <a:t>单击此处添加标题</a:t>
                      </a:r>
                      <a:endParaRPr lang="zh-CN" altLang="en-US" b="1" dirty="0">
                        <a:cs typeface="+mn-ea"/>
                        <a:sym typeface="+mn-lt"/>
                      </a:endParaRPr>
                    </a:p>
                  </p:txBody>
                </p:sp>
                <p:sp>
                  <p:nvSpPr>
                    <p:cNvPr id="8" name="Text7"/>
                    <p:cNvSpPr txBox="1"/>
                    <p:nvPr/>
                  </p:nvSpPr>
                  <p:spPr>
                    <a:xfrm>
                      <a:off x="8871757" y="5503618"/>
                      <a:ext cx="2647142" cy="630179"/>
                    </a:xfrm>
                    <a:prstGeom prst="rect">
                      <a:avLst/>
                    </a:prstGeom>
                    <a:noFill/>
                  </p:spPr>
                  <p:txBody>
                    <a:bodyPr wrap="square" lIns="90000" tIns="46800" rIns="90000" bIns="46800" anchor="t" anchorCtr="1">
                      <a:normAutofit/>
                    </a:bodyPr>
                    <a:lstStyle/>
                    <a:p>
                      <a:pPr algn="ctr">
                        <a:lnSpc>
                          <a:spcPct val="120000"/>
                        </a:lnSpc>
                      </a:pPr>
                      <a:r>
                        <a:rPr lang="zh-CN" altLang="en-US" sz="1200" dirty="0">
                          <a:solidFill>
                            <a:srgbClr val="0070C0"/>
                          </a:solidFill>
                          <a:cs typeface="+mn-ea"/>
                          <a:sym typeface="+mn-lt"/>
                        </a:rPr>
                        <a:t>请输入文本内容</a:t>
                      </a:r>
                      <a:endParaRPr lang="zh-CN" altLang="en-US" sz="1200" dirty="0">
                        <a:solidFill>
                          <a:srgbClr val="0070C0"/>
                        </a:solidFill>
                        <a:cs typeface="+mn-ea"/>
                        <a:sym typeface="+mn-lt"/>
                      </a:endParaRPr>
                    </a:p>
                  </p:txBody>
                </p:sp>
              </p:grpSp>
              <p:grpSp>
                <p:nvGrpSpPr>
                  <p:cNvPr id="40" name="组合 39"/>
                  <p:cNvGrpSpPr/>
                  <p:nvPr/>
                </p:nvGrpSpPr>
                <p:grpSpPr>
                  <a:xfrm>
                    <a:off x="9792992" y="4134162"/>
                    <a:ext cx="804672" cy="804672"/>
                    <a:chOff x="9792992" y="4134162"/>
                    <a:chExt cx="804672" cy="804672"/>
                  </a:xfrm>
                </p:grpSpPr>
                <p:sp>
                  <p:nvSpPr>
                    <p:cNvPr id="29" name="iṣlíḑé"/>
                    <p:cNvSpPr/>
                    <p:nvPr/>
                  </p:nvSpPr>
                  <p:spPr bwMode="auto">
                    <a:xfrm>
                      <a:off x="9792992" y="4134162"/>
                      <a:ext cx="804672" cy="804672"/>
                    </a:xfrm>
                    <a:prstGeom prst="ellipse">
                      <a:avLst/>
                    </a:prstGeom>
                    <a:solidFill>
                      <a:schemeClr val="accent1"/>
                    </a:solidFill>
                    <a:ln w="9525">
                      <a:noFill/>
                      <a:round/>
                    </a:ln>
                  </p:spPr>
                  <p:txBody>
                    <a:bodyPr lIns="0" tIns="0" rIns="0" bIns="0" anchor="ctr"/>
                    <a:lstStyle/>
                    <a:p>
                      <a:pPr algn="ctr"/>
                      <a:endParaRPr>
                        <a:cs typeface="+mn-ea"/>
                        <a:sym typeface="+mn-lt"/>
                      </a:endParaRPr>
                    </a:p>
                  </p:txBody>
                </p:sp>
                <p:sp>
                  <p:nvSpPr>
                    <p:cNvPr id="32" name="Icon7"/>
                    <p:cNvSpPr/>
                    <p:nvPr/>
                  </p:nvSpPr>
                  <p:spPr bwMode="auto">
                    <a:xfrm>
                      <a:off x="10010737" y="4352198"/>
                      <a:ext cx="369182" cy="368600"/>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 name="connsiteX9" fmla="*/ 325000 h 606722"/>
                        <a:gd name="connsiteY9" fmla="*/ 325000 h 606722"/>
                        <a:gd name="connsiteX10" fmla="*/ 325000 h 606722"/>
                        <a:gd name="connsiteY10" fmla="*/ 325000 h 606722"/>
                        <a:gd name="connsiteX11" fmla="*/ 325000 h 606722"/>
                        <a:gd name="connsiteY11" fmla="*/ 325000 h 606722"/>
                        <a:gd name="connsiteX12" fmla="*/ 325000 h 606722"/>
                        <a:gd name="connsiteY12" fmla="*/ 325000 h 606722"/>
                        <a:gd name="connsiteX13" fmla="*/ 325000 h 606722"/>
                        <a:gd name="connsiteY13" fmla="*/ 325000 h 606722"/>
                        <a:gd name="connsiteX14" fmla="*/ 325000 h 606722"/>
                        <a:gd name="connsiteY14" fmla="*/ 325000 h 606722"/>
                        <a:gd name="connsiteX15" fmla="*/ 325000 h 606722"/>
                        <a:gd name="connsiteY15" fmla="*/ 325000 h 606722"/>
                        <a:gd name="connsiteX16" fmla="*/ 325000 h 606722"/>
                        <a:gd name="connsiteY16" fmla="*/ 325000 h 606722"/>
                        <a:gd name="connsiteX17" fmla="*/ 325000 h 606722"/>
                        <a:gd name="connsiteY17" fmla="*/ 325000 h 606722"/>
                        <a:gd name="connsiteX18" fmla="*/ 325000 h 606722"/>
                        <a:gd name="connsiteY18" fmla="*/ 325000 h 606722"/>
                        <a:gd name="connsiteX19" fmla="*/ 325000 h 606722"/>
                        <a:gd name="connsiteY19" fmla="*/ 325000 h 606722"/>
                        <a:gd name="connsiteX20" fmla="*/ 325000 h 606722"/>
                        <a:gd name="connsiteY20" fmla="*/ 325000 h 606722"/>
                        <a:gd name="connsiteX21" fmla="*/ 325000 h 606722"/>
                        <a:gd name="connsiteY21" fmla="*/ 325000 h 606722"/>
                        <a:gd name="connsiteX22" fmla="*/ 325000 h 606722"/>
                        <a:gd name="connsiteY22" fmla="*/ 325000 h 606722"/>
                        <a:gd name="connsiteX23" fmla="*/ 325000 h 606722"/>
                        <a:gd name="connsiteY23" fmla="*/ 325000 h 606722"/>
                        <a:gd name="connsiteX24" fmla="*/ 325000 h 606722"/>
                        <a:gd name="connsiteY24" fmla="*/ 325000 h 606722"/>
                        <a:gd name="connsiteX25" fmla="*/ 325000 h 606722"/>
                        <a:gd name="connsiteY25" fmla="*/ 325000 h 606722"/>
                        <a:gd name="connsiteX26" fmla="*/ 325000 h 606722"/>
                        <a:gd name="connsiteY26" fmla="*/ 325000 h 606722"/>
                        <a:gd name="connsiteX27" fmla="*/ 325000 h 606722"/>
                        <a:gd name="connsiteY27" fmla="*/ 325000 h 606722"/>
                        <a:gd name="connsiteX28" fmla="*/ 325000 h 606722"/>
                        <a:gd name="connsiteY28" fmla="*/ 325000 h 606722"/>
                        <a:gd name="connsiteX29" fmla="*/ 325000 h 606722"/>
                        <a:gd name="connsiteY29" fmla="*/ 325000 h 606722"/>
                        <a:gd name="connsiteX30" fmla="*/ 325000 h 606722"/>
                        <a:gd name="connsiteY30" fmla="*/ 325000 h 606722"/>
                        <a:gd name="connsiteX31" fmla="*/ 325000 h 606722"/>
                        <a:gd name="connsiteY31" fmla="*/ 325000 h 606722"/>
                        <a:gd name="connsiteX32" fmla="*/ 325000 h 606722"/>
                        <a:gd name="connsiteY32" fmla="*/ 325000 h 606722"/>
                        <a:gd name="connsiteX33" fmla="*/ 325000 h 606722"/>
                        <a:gd name="connsiteY33" fmla="*/ 325000 h 606722"/>
                        <a:gd name="connsiteX34" fmla="*/ 325000 h 606722"/>
                        <a:gd name="connsiteY34" fmla="*/ 325000 h 606722"/>
                        <a:gd name="connsiteX35" fmla="*/ 325000 h 606722"/>
                        <a:gd name="connsiteY35" fmla="*/ 325000 h 606722"/>
                        <a:gd name="connsiteX36" fmla="*/ 325000 h 606722"/>
                        <a:gd name="connsiteY36" fmla="*/ 325000 h 606722"/>
                        <a:gd name="connsiteX37" fmla="*/ 325000 h 606722"/>
                        <a:gd name="connsiteY37" fmla="*/ 325000 h 606722"/>
                        <a:gd name="connsiteX38" fmla="*/ 325000 h 606722"/>
                        <a:gd name="connsiteY38" fmla="*/ 325000 h 606722"/>
                        <a:gd name="connsiteX39" fmla="*/ 325000 h 606722"/>
                        <a:gd name="connsiteY39"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81459" h="580542">
                          <a:moveTo>
                            <a:pt x="213875" y="146706"/>
                          </a:moveTo>
                          <a:cubicBezTo>
                            <a:pt x="227226" y="146706"/>
                            <a:pt x="238084" y="157547"/>
                            <a:pt x="238084" y="171055"/>
                          </a:cubicBezTo>
                          <a:cubicBezTo>
                            <a:pt x="238084" y="184562"/>
                            <a:pt x="227226" y="195493"/>
                            <a:pt x="213875" y="195493"/>
                          </a:cubicBezTo>
                          <a:cubicBezTo>
                            <a:pt x="161630" y="195493"/>
                            <a:pt x="118998" y="238236"/>
                            <a:pt x="118998" y="290755"/>
                          </a:cubicBezTo>
                          <a:cubicBezTo>
                            <a:pt x="118998" y="300086"/>
                            <a:pt x="120422" y="309328"/>
                            <a:pt x="123092" y="318214"/>
                          </a:cubicBezTo>
                          <a:cubicBezTo>
                            <a:pt x="126741" y="330300"/>
                            <a:pt x="120422" y="343274"/>
                            <a:pt x="108673" y="347895"/>
                          </a:cubicBezTo>
                          <a:cubicBezTo>
                            <a:pt x="72182" y="362291"/>
                            <a:pt x="48507" y="397126"/>
                            <a:pt x="48507" y="436582"/>
                          </a:cubicBezTo>
                          <a:cubicBezTo>
                            <a:pt x="48507" y="489101"/>
                            <a:pt x="91050" y="531844"/>
                            <a:pt x="143384" y="531844"/>
                          </a:cubicBezTo>
                          <a:lnTo>
                            <a:pt x="438164" y="531844"/>
                          </a:lnTo>
                          <a:cubicBezTo>
                            <a:pt x="490320" y="531844"/>
                            <a:pt x="532952" y="489101"/>
                            <a:pt x="532952" y="436582"/>
                          </a:cubicBezTo>
                          <a:cubicBezTo>
                            <a:pt x="532952" y="408678"/>
                            <a:pt x="520759" y="382108"/>
                            <a:pt x="499398" y="363979"/>
                          </a:cubicBezTo>
                          <a:cubicBezTo>
                            <a:pt x="494147" y="359625"/>
                            <a:pt x="491032" y="353049"/>
                            <a:pt x="490854" y="346207"/>
                          </a:cubicBezTo>
                          <a:cubicBezTo>
                            <a:pt x="489252" y="294399"/>
                            <a:pt x="447598" y="253876"/>
                            <a:pt x="395976" y="253876"/>
                          </a:cubicBezTo>
                          <a:cubicBezTo>
                            <a:pt x="382625" y="253876"/>
                            <a:pt x="371767" y="243035"/>
                            <a:pt x="371767" y="229528"/>
                          </a:cubicBezTo>
                          <a:cubicBezTo>
                            <a:pt x="371767" y="216020"/>
                            <a:pt x="382625" y="205090"/>
                            <a:pt x="395976" y="205090"/>
                          </a:cubicBezTo>
                          <a:cubicBezTo>
                            <a:pt x="433535" y="205090"/>
                            <a:pt x="468959" y="219575"/>
                            <a:pt x="495927" y="245879"/>
                          </a:cubicBezTo>
                          <a:cubicBezTo>
                            <a:pt x="520225" y="269517"/>
                            <a:pt x="535177" y="300441"/>
                            <a:pt x="538648" y="334032"/>
                          </a:cubicBezTo>
                          <a:cubicBezTo>
                            <a:pt x="565972" y="361047"/>
                            <a:pt x="581459" y="397748"/>
                            <a:pt x="581459" y="436582"/>
                          </a:cubicBezTo>
                          <a:cubicBezTo>
                            <a:pt x="581459" y="516026"/>
                            <a:pt x="517199" y="580542"/>
                            <a:pt x="438164" y="580542"/>
                          </a:cubicBezTo>
                          <a:lnTo>
                            <a:pt x="143384" y="580542"/>
                          </a:lnTo>
                          <a:cubicBezTo>
                            <a:pt x="64349" y="580542"/>
                            <a:pt x="0" y="516026"/>
                            <a:pt x="0" y="436582"/>
                          </a:cubicBezTo>
                          <a:cubicBezTo>
                            <a:pt x="0" y="407079"/>
                            <a:pt x="8811" y="378820"/>
                            <a:pt x="25544" y="354471"/>
                          </a:cubicBezTo>
                          <a:cubicBezTo>
                            <a:pt x="37737" y="336698"/>
                            <a:pt x="53669" y="322124"/>
                            <a:pt x="72004" y="311638"/>
                          </a:cubicBezTo>
                          <a:cubicBezTo>
                            <a:pt x="70936" y="304618"/>
                            <a:pt x="70491" y="297598"/>
                            <a:pt x="70491" y="290666"/>
                          </a:cubicBezTo>
                          <a:cubicBezTo>
                            <a:pt x="70491" y="211222"/>
                            <a:pt x="134840" y="146706"/>
                            <a:pt x="213875" y="146706"/>
                          </a:cubicBezTo>
                          <a:close/>
                          <a:moveTo>
                            <a:pt x="301555" y="0"/>
                          </a:moveTo>
                          <a:cubicBezTo>
                            <a:pt x="314815" y="0"/>
                            <a:pt x="325673" y="10930"/>
                            <a:pt x="325673" y="24259"/>
                          </a:cubicBezTo>
                          <a:lnTo>
                            <a:pt x="325673" y="369392"/>
                          </a:lnTo>
                          <a:lnTo>
                            <a:pt x="379960" y="313055"/>
                          </a:lnTo>
                          <a:cubicBezTo>
                            <a:pt x="389215" y="303458"/>
                            <a:pt x="404433" y="303191"/>
                            <a:pt x="414045" y="312522"/>
                          </a:cubicBezTo>
                          <a:cubicBezTo>
                            <a:pt x="423567" y="321763"/>
                            <a:pt x="423745" y="337225"/>
                            <a:pt x="414490" y="346822"/>
                          </a:cubicBezTo>
                          <a:lnTo>
                            <a:pt x="318642" y="446079"/>
                          </a:lnTo>
                          <a:cubicBezTo>
                            <a:pt x="314103" y="450788"/>
                            <a:pt x="307874" y="453454"/>
                            <a:pt x="301288" y="453454"/>
                          </a:cubicBezTo>
                          <a:cubicBezTo>
                            <a:pt x="294791" y="453454"/>
                            <a:pt x="288473" y="450788"/>
                            <a:pt x="284023" y="446079"/>
                          </a:cubicBezTo>
                          <a:lnTo>
                            <a:pt x="188086" y="346822"/>
                          </a:lnTo>
                          <a:cubicBezTo>
                            <a:pt x="178742" y="337225"/>
                            <a:pt x="179009" y="321941"/>
                            <a:pt x="188620" y="312522"/>
                          </a:cubicBezTo>
                          <a:cubicBezTo>
                            <a:pt x="198054" y="303191"/>
                            <a:pt x="213361" y="303458"/>
                            <a:pt x="222617" y="313055"/>
                          </a:cubicBezTo>
                          <a:lnTo>
                            <a:pt x="277437" y="369392"/>
                          </a:lnTo>
                          <a:lnTo>
                            <a:pt x="277437" y="24259"/>
                          </a:lnTo>
                          <a:cubicBezTo>
                            <a:pt x="277437" y="10930"/>
                            <a:pt x="288295" y="0"/>
                            <a:pt x="301555" y="0"/>
                          </a:cubicBezTo>
                          <a:close/>
                        </a:path>
                      </a:pathLst>
                    </a:custGeom>
                    <a:solidFill>
                      <a:srgbClr val="FFFFFF"/>
                    </a:solidFill>
                    <a:ln>
                      <a:noFill/>
                    </a:ln>
                  </p:spPr>
                  <p:txBody>
                    <a:bodyPr lIns="0" tIns="0" rIns="0" bIns="0" anchor="ctr"/>
                    <a:lstStyle/>
                    <a:p>
                      <a:pPr algn="ctr"/>
                      <a:endParaRPr>
                        <a:cs typeface="+mn-ea"/>
                        <a:sym typeface="+mn-lt"/>
                      </a:endParaRPr>
                    </a:p>
                  </p:txBody>
                </p:sp>
              </p:grpSp>
            </p:grpSp>
          </p:grpSp>
        </p:grpSp>
        <p:sp>
          <p:nvSpPr>
            <p:cNvPr id="34" name="Title"/>
            <p:cNvSpPr txBox="1"/>
            <p:nvPr/>
          </p:nvSpPr>
          <p:spPr>
            <a:xfrm>
              <a:off x="660399" y="1130300"/>
              <a:ext cx="10858500" cy="645157"/>
            </a:xfrm>
            <a:prstGeom prst="rect">
              <a:avLst/>
            </a:prstGeom>
            <a:noFill/>
          </p:spPr>
          <p:txBody>
            <a:bodyPr wrap="square" rtlCol="0" anchor="t" anchorCtr="1">
              <a:normAutofit/>
            </a:bodyPr>
            <a:lstStyle/>
            <a:p>
              <a:pPr algn="ctr"/>
              <a:r>
                <a:rPr lang="zh-CN" altLang="en-US" sz="2400" b="1" dirty="0">
                  <a:cs typeface="+mn-ea"/>
                  <a:sym typeface="+mn-lt"/>
                </a:rPr>
                <a:t>请输入文本内容请输入文本内容</a:t>
              </a:r>
              <a:endParaRPr lang="zh-CN" altLang="en-US" sz="2400" b="1" dirty="0">
                <a:cs typeface="+mn-ea"/>
                <a:sym typeface="+mn-lt"/>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添加标题</a:t>
            </a:r>
            <a:endParaRPr lang="zh-CN" altLang="en-US" dirty="0"/>
          </a:p>
        </p:txBody>
      </p:sp>
      <p:grpSp>
        <p:nvGrpSpPr>
          <p:cNvPr id="7" name="组合 6"/>
          <p:cNvGrpSpPr/>
          <p:nvPr/>
        </p:nvGrpSpPr>
        <p:grpSpPr>
          <a:xfrm>
            <a:off x="1367064" y="2758071"/>
            <a:ext cx="3498226" cy="3015712"/>
            <a:chOff x="881642" y="1661524"/>
            <a:chExt cx="4770220" cy="4112259"/>
          </a:xfrm>
        </p:grpSpPr>
        <p:sp>
          <p:nvSpPr>
            <p:cNvPr id="11" name="任意多边形 10"/>
            <p:cNvSpPr/>
            <p:nvPr/>
          </p:nvSpPr>
          <p:spPr>
            <a:xfrm>
              <a:off x="881642" y="4804910"/>
              <a:ext cx="4770220" cy="968873"/>
            </a:xfrm>
            <a:custGeom>
              <a:avLst/>
              <a:gdLst>
                <a:gd name="connsiteX0" fmla="*/ 683777 w 5804408"/>
                <a:gd name="connsiteY0" fmla="*/ 3824875 h 5003800"/>
                <a:gd name="connsiteX1" fmla="*/ 5120632 w 5804408"/>
                <a:gd name="connsiteY1" fmla="*/ 3824875 h 5003800"/>
                <a:gd name="connsiteX2" fmla="*/ 5804408 w 5804408"/>
                <a:gd name="connsiteY2" fmla="*/ 5003800 h 5003800"/>
                <a:gd name="connsiteX3" fmla="*/ 0 w 5804408"/>
                <a:gd name="connsiteY3" fmla="*/ 5003800 h 5003800"/>
                <a:gd name="connsiteX4" fmla="*/ 1445210 w 5804408"/>
                <a:gd name="connsiteY4" fmla="*/ 2512059 h 5003800"/>
                <a:gd name="connsiteX5" fmla="*/ 4359199 w 5804408"/>
                <a:gd name="connsiteY5" fmla="*/ 2512059 h 5003800"/>
                <a:gd name="connsiteX6" fmla="*/ 5014562 w 5804408"/>
                <a:gd name="connsiteY6" fmla="*/ 3641995 h 5003800"/>
                <a:gd name="connsiteX7" fmla="*/ 789847 w 5804408"/>
                <a:gd name="connsiteY7" fmla="*/ 3641995 h 5003800"/>
                <a:gd name="connsiteX8" fmla="*/ 2206644 w 5804408"/>
                <a:gd name="connsiteY8" fmla="*/ 1199242 h 5003800"/>
                <a:gd name="connsiteX9" fmla="*/ 3597765 w 5804408"/>
                <a:gd name="connsiteY9" fmla="*/ 1199242 h 5003800"/>
                <a:gd name="connsiteX10" fmla="*/ 4253129 w 5804408"/>
                <a:gd name="connsiteY10" fmla="*/ 2329179 h 5003800"/>
                <a:gd name="connsiteX11" fmla="*/ 1551281 w 5804408"/>
                <a:gd name="connsiteY11" fmla="*/ 2329179 h 5003800"/>
                <a:gd name="connsiteX12" fmla="*/ 2902204 w 5804408"/>
                <a:gd name="connsiteY12" fmla="*/ 0 h 5003800"/>
                <a:gd name="connsiteX13" fmla="*/ 3491694 w 5804408"/>
                <a:gd name="connsiteY13" fmla="*/ 1016362 h 5003800"/>
                <a:gd name="connsiteX14" fmla="*/ 2312714 w 5804408"/>
                <a:gd name="connsiteY14" fmla="*/ 1016362 h 500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4408" h="1178925">
                  <a:moveTo>
                    <a:pt x="683777" y="0"/>
                  </a:moveTo>
                  <a:lnTo>
                    <a:pt x="5120632" y="0"/>
                  </a:lnTo>
                  <a:lnTo>
                    <a:pt x="5804408" y="1178925"/>
                  </a:lnTo>
                  <a:lnTo>
                    <a:pt x="0" y="1178925"/>
                  </a:lnTo>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12" name="任意多边形 11"/>
            <p:cNvSpPr/>
            <p:nvPr/>
          </p:nvSpPr>
          <p:spPr>
            <a:xfrm>
              <a:off x="1530760" y="3726002"/>
              <a:ext cx="3471985" cy="928612"/>
            </a:xfrm>
            <a:custGeom>
              <a:avLst/>
              <a:gdLst>
                <a:gd name="connsiteX0" fmla="*/ 683777 w 5804408"/>
                <a:gd name="connsiteY0" fmla="*/ 3824875 h 5003800"/>
                <a:gd name="connsiteX1" fmla="*/ 5120632 w 5804408"/>
                <a:gd name="connsiteY1" fmla="*/ 3824875 h 5003800"/>
                <a:gd name="connsiteX2" fmla="*/ 5804408 w 5804408"/>
                <a:gd name="connsiteY2" fmla="*/ 5003800 h 5003800"/>
                <a:gd name="connsiteX3" fmla="*/ 0 w 5804408"/>
                <a:gd name="connsiteY3" fmla="*/ 5003800 h 5003800"/>
                <a:gd name="connsiteX4" fmla="*/ 1445210 w 5804408"/>
                <a:gd name="connsiteY4" fmla="*/ 2512059 h 5003800"/>
                <a:gd name="connsiteX5" fmla="*/ 4359199 w 5804408"/>
                <a:gd name="connsiteY5" fmla="*/ 2512059 h 5003800"/>
                <a:gd name="connsiteX6" fmla="*/ 5014562 w 5804408"/>
                <a:gd name="connsiteY6" fmla="*/ 3641995 h 5003800"/>
                <a:gd name="connsiteX7" fmla="*/ 789847 w 5804408"/>
                <a:gd name="connsiteY7" fmla="*/ 3641995 h 5003800"/>
                <a:gd name="connsiteX8" fmla="*/ 2206644 w 5804408"/>
                <a:gd name="connsiteY8" fmla="*/ 1199242 h 5003800"/>
                <a:gd name="connsiteX9" fmla="*/ 3597765 w 5804408"/>
                <a:gd name="connsiteY9" fmla="*/ 1199242 h 5003800"/>
                <a:gd name="connsiteX10" fmla="*/ 4253129 w 5804408"/>
                <a:gd name="connsiteY10" fmla="*/ 2329179 h 5003800"/>
                <a:gd name="connsiteX11" fmla="*/ 1551281 w 5804408"/>
                <a:gd name="connsiteY11" fmla="*/ 2329179 h 5003800"/>
                <a:gd name="connsiteX12" fmla="*/ 2902204 w 5804408"/>
                <a:gd name="connsiteY12" fmla="*/ 0 h 5003800"/>
                <a:gd name="connsiteX13" fmla="*/ 3491694 w 5804408"/>
                <a:gd name="connsiteY13" fmla="*/ 1016362 h 5003800"/>
                <a:gd name="connsiteX14" fmla="*/ 2312714 w 5804408"/>
                <a:gd name="connsiteY14" fmla="*/ 1016362 h 500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24715" h="1129936">
                  <a:moveTo>
                    <a:pt x="655363" y="0"/>
                  </a:moveTo>
                  <a:lnTo>
                    <a:pt x="3569352" y="0"/>
                  </a:lnTo>
                  <a:lnTo>
                    <a:pt x="4224715" y="1129936"/>
                  </a:lnTo>
                  <a:lnTo>
                    <a:pt x="0" y="1129936"/>
                  </a:lnTo>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13" name="任意多边形 12"/>
            <p:cNvSpPr/>
            <p:nvPr/>
          </p:nvSpPr>
          <p:spPr>
            <a:xfrm>
              <a:off x="2156527" y="2647094"/>
              <a:ext cx="2220452" cy="928613"/>
            </a:xfrm>
            <a:custGeom>
              <a:avLst/>
              <a:gdLst>
                <a:gd name="connsiteX0" fmla="*/ 683777 w 5804408"/>
                <a:gd name="connsiteY0" fmla="*/ 3824875 h 5003800"/>
                <a:gd name="connsiteX1" fmla="*/ 5120632 w 5804408"/>
                <a:gd name="connsiteY1" fmla="*/ 3824875 h 5003800"/>
                <a:gd name="connsiteX2" fmla="*/ 5804408 w 5804408"/>
                <a:gd name="connsiteY2" fmla="*/ 5003800 h 5003800"/>
                <a:gd name="connsiteX3" fmla="*/ 0 w 5804408"/>
                <a:gd name="connsiteY3" fmla="*/ 5003800 h 5003800"/>
                <a:gd name="connsiteX4" fmla="*/ 1445210 w 5804408"/>
                <a:gd name="connsiteY4" fmla="*/ 2512059 h 5003800"/>
                <a:gd name="connsiteX5" fmla="*/ 4359199 w 5804408"/>
                <a:gd name="connsiteY5" fmla="*/ 2512059 h 5003800"/>
                <a:gd name="connsiteX6" fmla="*/ 5014562 w 5804408"/>
                <a:gd name="connsiteY6" fmla="*/ 3641995 h 5003800"/>
                <a:gd name="connsiteX7" fmla="*/ 789847 w 5804408"/>
                <a:gd name="connsiteY7" fmla="*/ 3641995 h 5003800"/>
                <a:gd name="connsiteX8" fmla="*/ 2206644 w 5804408"/>
                <a:gd name="connsiteY8" fmla="*/ 1199242 h 5003800"/>
                <a:gd name="connsiteX9" fmla="*/ 3597765 w 5804408"/>
                <a:gd name="connsiteY9" fmla="*/ 1199242 h 5003800"/>
                <a:gd name="connsiteX10" fmla="*/ 4253129 w 5804408"/>
                <a:gd name="connsiteY10" fmla="*/ 2329179 h 5003800"/>
                <a:gd name="connsiteX11" fmla="*/ 1551281 w 5804408"/>
                <a:gd name="connsiteY11" fmla="*/ 2329179 h 5003800"/>
                <a:gd name="connsiteX12" fmla="*/ 2902204 w 5804408"/>
                <a:gd name="connsiteY12" fmla="*/ 0 h 5003800"/>
                <a:gd name="connsiteX13" fmla="*/ 3491694 w 5804408"/>
                <a:gd name="connsiteY13" fmla="*/ 1016362 h 5003800"/>
                <a:gd name="connsiteX14" fmla="*/ 2312714 w 5804408"/>
                <a:gd name="connsiteY14" fmla="*/ 1016362 h 500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01848" h="1129937">
                  <a:moveTo>
                    <a:pt x="655363" y="0"/>
                  </a:moveTo>
                  <a:lnTo>
                    <a:pt x="2046484" y="0"/>
                  </a:lnTo>
                  <a:lnTo>
                    <a:pt x="2701848" y="1129937"/>
                  </a:lnTo>
                  <a:lnTo>
                    <a:pt x="0" y="1129937"/>
                  </a:lnTo>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14" name="任意多边形 13"/>
            <p:cNvSpPr/>
            <p:nvPr/>
          </p:nvSpPr>
          <p:spPr>
            <a:xfrm>
              <a:off x="2782293" y="1661524"/>
              <a:ext cx="968918" cy="835274"/>
            </a:xfrm>
            <a:custGeom>
              <a:avLst/>
              <a:gdLst>
                <a:gd name="connsiteX0" fmla="*/ 683777 w 5804408"/>
                <a:gd name="connsiteY0" fmla="*/ 3824875 h 5003800"/>
                <a:gd name="connsiteX1" fmla="*/ 5120632 w 5804408"/>
                <a:gd name="connsiteY1" fmla="*/ 3824875 h 5003800"/>
                <a:gd name="connsiteX2" fmla="*/ 5804408 w 5804408"/>
                <a:gd name="connsiteY2" fmla="*/ 5003800 h 5003800"/>
                <a:gd name="connsiteX3" fmla="*/ 0 w 5804408"/>
                <a:gd name="connsiteY3" fmla="*/ 5003800 h 5003800"/>
                <a:gd name="connsiteX4" fmla="*/ 1445210 w 5804408"/>
                <a:gd name="connsiteY4" fmla="*/ 2512059 h 5003800"/>
                <a:gd name="connsiteX5" fmla="*/ 4359199 w 5804408"/>
                <a:gd name="connsiteY5" fmla="*/ 2512059 h 5003800"/>
                <a:gd name="connsiteX6" fmla="*/ 5014562 w 5804408"/>
                <a:gd name="connsiteY6" fmla="*/ 3641995 h 5003800"/>
                <a:gd name="connsiteX7" fmla="*/ 789847 w 5804408"/>
                <a:gd name="connsiteY7" fmla="*/ 3641995 h 5003800"/>
                <a:gd name="connsiteX8" fmla="*/ 2206644 w 5804408"/>
                <a:gd name="connsiteY8" fmla="*/ 1199242 h 5003800"/>
                <a:gd name="connsiteX9" fmla="*/ 3597765 w 5804408"/>
                <a:gd name="connsiteY9" fmla="*/ 1199242 h 5003800"/>
                <a:gd name="connsiteX10" fmla="*/ 4253129 w 5804408"/>
                <a:gd name="connsiteY10" fmla="*/ 2329179 h 5003800"/>
                <a:gd name="connsiteX11" fmla="*/ 1551281 w 5804408"/>
                <a:gd name="connsiteY11" fmla="*/ 2329179 h 5003800"/>
                <a:gd name="connsiteX12" fmla="*/ 2902204 w 5804408"/>
                <a:gd name="connsiteY12" fmla="*/ 0 h 5003800"/>
                <a:gd name="connsiteX13" fmla="*/ 3491694 w 5804408"/>
                <a:gd name="connsiteY13" fmla="*/ 1016362 h 5003800"/>
                <a:gd name="connsiteX14" fmla="*/ 2312714 w 5804408"/>
                <a:gd name="connsiteY14" fmla="*/ 1016362 h 500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8980" h="1016362">
                  <a:moveTo>
                    <a:pt x="589490" y="0"/>
                  </a:moveTo>
                  <a:lnTo>
                    <a:pt x="1178980" y="1016362"/>
                  </a:lnTo>
                  <a:lnTo>
                    <a:pt x="0" y="1016362"/>
                  </a:lnTo>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3" name="组合 2"/>
          <p:cNvGrpSpPr/>
          <p:nvPr>
            <p:custDataLst>
              <p:tags r:id="rId1"/>
            </p:custDataLst>
          </p:nvPr>
        </p:nvGrpSpPr>
        <p:grpSpPr>
          <a:xfrm>
            <a:off x="6038062" y="1647018"/>
            <a:ext cx="5480838" cy="925842"/>
            <a:chOff x="6038062" y="1647018"/>
            <a:chExt cx="5480838" cy="925842"/>
          </a:xfrm>
        </p:grpSpPr>
        <p:sp>
          <p:nvSpPr>
            <p:cNvPr id="19" name="Bullet1"/>
            <p:cNvSpPr txBox="1"/>
            <p:nvPr>
              <p:custDataLst>
                <p:tags r:id="rId2"/>
              </p:custDataLst>
            </p:nvPr>
          </p:nvSpPr>
          <p:spPr>
            <a:xfrm>
              <a:off x="7812133" y="1647018"/>
              <a:ext cx="3706767" cy="461665"/>
            </a:xfrm>
            <a:prstGeom prst="rect">
              <a:avLst/>
            </a:prstGeom>
            <a:noFill/>
          </p:spPr>
          <p:txBody>
            <a:bodyPr wrap="square" rtlCol="0" anchor="b" anchorCtr="0">
              <a:normAutofit/>
            </a:bodyPr>
            <a:lstStyle/>
            <a:p>
              <a:r>
                <a:rPr lang="zh-CN" altLang="en-US" b="1" dirty="0"/>
                <a:t>单击此处添加标题</a:t>
              </a:r>
              <a:endParaRPr lang="zh-CN" altLang="en-US" b="1" dirty="0"/>
            </a:p>
          </p:txBody>
        </p:sp>
        <p:sp>
          <p:nvSpPr>
            <p:cNvPr id="20" name="Text1"/>
            <p:cNvSpPr txBox="1"/>
            <p:nvPr>
              <p:custDataLst>
                <p:tags r:id="rId3"/>
              </p:custDataLst>
            </p:nvPr>
          </p:nvSpPr>
          <p:spPr>
            <a:xfrm>
              <a:off x="7812133" y="2111195"/>
              <a:ext cx="3706767" cy="461665"/>
            </a:xfrm>
            <a:prstGeom prst="rect">
              <a:avLst/>
            </a:prstGeom>
            <a:noFill/>
          </p:spPr>
          <p:txBody>
            <a:bodyPr wrap="square" rtlCol="0" anchor="t" anchorCtr="0">
              <a:normAutofit/>
            </a:bodyPr>
            <a:lstStyle/>
            <a:p>
              <a:pPr>
                <a:lnSpc>
                  <a:spcPct val="120000"/>
                </a:lnSpc>
              </a:pPr>
              <a:r>
                <a:rPr kumimoji="0" lang="zh-CN" altLang="en-US" sz="1200" i="0" u="none" strike="noStrike" kern="1200" cap="none" spc="0" normalizeH="0" baseline="0" noProof="0" dirty="0">
                  <a:ln>
                    <a:noFill/>
                  </a:ln>
                  <a:effectLst/>
                  <a:uLnTx/>
                  <a:uFillTx/>
                </a:rPr>
                <a:t>请输入文本内容请输入文本内容</a:t>
              </a:r>
              <a:endParaRPr kumimoji="0" lang="zh-CN" altLang="en-US" sz="1200" i="0" u="none" strike="noStrike" kern="1200" cap="none" spc="0" normalizeH="0" baseline="0" noProof="0" dirty="0">
                <a:ln>
                  <a:noFill/>
                </a:ln>
                <a:effectLst/>
                <a:uLnTx/>
                <a:uFillTx/>
              </a:endParaRPr>
            </a:p>
          </p:txBody>
        </p:sp>
        <p:sp>
          <p:nvSpPr>
            <p:cNvPr id="30" name="Number1"/>
            <p:cNvSpPr txBox="1"/>
            <p:nvPr>
              <p:custDataLst>
                <p:tags r:id="rId4"/>
              </p:custDataLst>
            </p:nvPr>
          </p:nvSpPr>
          <p:spPr>
            <a:xfrm>
              <a:off x="7033947" y="1887825"/>
              <a:ext cx="612668" cy="461665"/>
            </a:xfrm>
            <a:prstGeom prst="rect">
              <a:avLst/>
            </a:prstGeom>
            <a:noFill/>
            <a:effectLst/>
          </p:spPr>
          <p:txBody>
            <a:bodyPr wrap="none" rtlCol="0">
              <a:spAutoFit/>
            </a:bodyPr>
            <a:lstStyle>
              <a:defPPr>
                <a:defRPr lang="zh-CN"/>
              </a:defPPr>
              <a:lvl1pPr>
                <a:defRPr sz="3200" b="1" i="1">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en-US" altLang="zh-CN" sz="2400" i="0" dirty="0">
                  <a:solidFill>
                    <a:schemeClr val="accent1"/>
                  </a:solidFill>
                  <a:effectLst/>
                </a:rPr>
                <a:t>01.</a:t>
              </a:r>
              <a:endParaRPr lang="zh-CN" altLang="en-US" sz="2400" i="0" dirty="0">
                <a:solidFill>
                  <a:schemeClr val="accent1"/>
                </a:solidFill>
                <a:effectLst/>
              </a:endParaRPr>
            </a:p>
          </p:txBody>
        </p:sp>
        <p:sp>
          <p:nvSpPr>
            <p:cNvPr id="45" name="shape1"/>
            <p:cNvSpPr/>
            <p:nvPr>
              <p:custDataLst>
                <p:tags r:id="rId5"/>
              </p:custDataLst>
            </p:nvPr>
          </p:nvSpPr>
          <p:spPr>
            <a:xfrm>
              <a:off x="6038062" y="1916802"/>
              <a:ext cx="609685" cy="324718"/>
            </a:xfrm>
            <a:custGeom>
              <a:avLst/>
              <a:gdLst>
                <a:gd name="connsiteX0" fmla="*/ 293671 w 607609"/>
                <a:gd name="connsiteY0" fmla="*/ 0 h 323613"/>
                <a:gd name="connsiteX1" fmla="*/ 455681 w 607609"/>
                <a:gd name="connsiteY1" fmla="*/ 0 h 323613"/>
                <a:gd name="connsiteX2" fmla="*/ 463069 w 607609"/>
                <a:gd name="connsiteY2" fmla="*/ 3200 h 323613"/>
                <a:gd name="connsiteX3" fmla="*/ 604872 w 607609"/>
                <a:gd name="connsiteY3" fmla="*/ 154918 h 323613"/>
                <a:gd name="connsiteX4" fmla="*/ 604872 w 607609"/>
                <a:gd name="connsiteY4" fmla="*/ 168695 h 323613"/>
                <a:gd name="connsiteX5" fmla="*/ 463069 w 607609"/>
                <a:gd name="connsiteY5" fmla="*/ 320413 h 323613"/>
                <a:gd name="connsiteX6" fmla="*/ 455681 w 607609"/>
                <a:gd name="connsiteY6" fmla="*/ 323613 h 323613"/>
                <a:gd name="connsiteX7" fmla="*/ 293671 w 607609"/>
                <a:gd name="connsiteY7" fmla="*/ 323613 h 323613"/>
                <a:gd name="connsiteX8" fmla="*/ 284324 w 607609"/>
                <a:gd name="connsiteY8" fmla="*/ 317391 h 323613"/>
                <a:gd name="connsiteX9" fmla="*/ 286461 w 607609"/>
                <a:gd name="connsiteY9" fmla="*/ 306370 h 323613"/>
                <a:gd name="connsiteX10" fmla="*/ 431201 w 607609"/>
                <a:gd name="connsiteY10" fmla="*/ 161762 h 323613"/>
                <a:gd name="connsiteX11" fmla="*/ 286461 w 607609"/>
                <a:gd name="connsiteY11" fmla="*/ 17243 h 323613"/>
                <a:gd name="connsiteX12" fmla="*/ 284324 w 607609"/>
                <a:gd name="connsiteY12" fmla="*/ 6222 h 323613"/>
                <a:gd name="connsiteX13" fmla="*/ 293671 w 607609"/>
                <a:gd name="connsiteY13" fmla="*/ 0 h 323613"/>
                <a:gd name="connsiteX14" fmla="*/ 10137 w 607609"/>
                <a:gd name="connsiteY14" fmla="*/ 0 h 323613"/>
                <a:gd name="connsiteX15" fmla="*/ 172112 w 607609"/>
                <a:gd name="connsiteY15" fmla="*/ 0 h 323613"/>
                <a:gd name="connsiteX16" fmla="*/ 179499 w 607609"/>
                <a:gd name="connsiteY16" fmla="*/ 3200 h 323613"/>
                <a:gd name="connsiteX17" fmla="*/ 321271 w 607609"/>
                <a:gd name="connsiteY17" fmla="*/ 154918 h 323613"/>
                <a:gd name="connsiteX18" fmla="*/ 321271 w 607609"/>
                <a:gd name="connsiteY18" fmla="*/ 168695 h 323613"/>
                <a:gd name="connsiteX19" fmla="*/ 179499 w 607609"/>
                <a:gd name="connsiteY19" fmla="*/ 320413 h 323613"/>
                <a:gd name="connsiteX20" fmla="*/ 172112 w 607609"/>
                <a:gd name="connsiteY20" fmla="*/ 323613 h 323613"/>
                <a:gd name="connsiteX21" fmla="*/ 10137 w 607609"/>
                <a:gd name="connsiteY21" fmla="*/ 323613 h 323613"/>
                <a:gd name="connsiteX22" fmla="*/ 792 w 607609"/>
                <a:gd name="connsiteY22" fmla="*/ 317391 h 323613"/>
                <a:gd name="connsiteX23" fmla="*/ 2928 w 607609"/>
                <a:gd name="connsiteY23" fmla="*/ 306370 h 323613"/>
                <a:gd name="connsiteX24" fmla="*/ 147727 w 607609"/>
                <a:gd name="connsiteY24" fmla="*/ 161762 h 323613"/>
                <a:gd name="connsiteX25" fmla="*/ 2928 w 607609"/>
                <a:gd name="connsiteY25" fmla="*/ 17243 h 323613"/>
                <a:gd name="connsiteX26" fmla="*/ 792 w 607609"/>
                <a:gd name="connsiteY26" fmla="*/ 6222 h 323613"/>
                <a:gd name="connsiteX27" fmla="*/ 10137 w 607609"/>
                <a:gd name="connsiteY27" fmla="*/ 0 h 32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7609" h="323613">
                  <a:moveTo>
                    <a:pt x="293671" y="0"/>
                  </a:moveTo>
                  <a:lnTo>
                    <a:pt x="455681" y="0"/>
                  </a:lnTo>
                  <a:cubicBezTo>
                    <a:pt x="458529" y="0"/>
                    <a:pt x="461200" y="1155"/>
                    <a:pt x="463069" y="3200"/>
                  </a:cubicBezTo>
                  <a:lnTo>
                    <a:pt x="604872" y="154918"/>
                  </a:lnTo>
                  <a:cubicBezTo>
                    <a:pt x="608522" y="158740"/>
                    <a:pt x="608522" y="164784"/>
                    <a:pt x="604872" y="168695"/>
                  </a:cubicBezTo>
                  <a:lnTo>
                    <a:pt x="463069" y="320413"/>
                  </a:lnTo>
                  <a:cubicBezTo>
                    <a:pt x="461200" y="322458"/>
                    <a:pt x="458529" y="323613"/>
                    <a:pt x="455681" y="323613"/>
                  </a:cubicBezTo>
                  <a:lnTo>
                    <a:pt x="293671" y="323613"/>
                  </a:lnTo>
                  <a:cubicBezTo>
                    <a:pt x="289576" y="323613"/>
                    <a:pt x="285838" y="321124"/>
                    <a:pt x="284324" y="317391"/>
                  </a:cubicBezTo>
                  <a:cubicBezTo>
                    <a:pt x="282722" y="313570"/>
                    <a:pt x="283612" y="309214"/>
                    <a:pt x="286461" y="306370"/>
                  </a:cubicBezTo>
                  <a:lnTo>
                    <a:pt x="431201" y="161762"/>
                  </a:lnTo>
                  <a:lnTo>
                    <a:pt x="286461" y="17243"/>
                  </a:lnTo>
                  <a:cubicBezTo>
                    <a:pt x="283612" y="14399"/>
                    <a:pt x="282722" y="10043"/>
                    <a:pt x="284324" y="6222"/>
                  </a:cubicBezTo>
                  <a:cubicBezTo>
                    <a:pt x="285838" y="2489"/>
                    <a:pt x="289576" y="0"/>
                    <a:pt x="293671" y="0"/>
                  </a:cubicBezTo>
                  <a:close/>
                  <a:moveTo>
                    <a:pt x="10137" y="0"/>
                  </a:moveTo>
                  <a:lnTo>
                    <a:pt x="172112" y="0"/>
                  </a:lnTo>
                  <a:cubicBezTo>
                    <a:pt x="174960" y="0"/>
                    <a:pt x="177630" y="1155"/>
                    <a:pt x="179499" y="3200"/>
                  </a:cubicBezTo>
                  <a:lnTo>
                    <a:pt x="321271" y="154918"/>
                  </a:lnTo>
                  <a:cubicBezTo>
                    <a:pt x="324920" y="158740"/>
                    <a:pt x="324920" y="164784"/>
                    <a:pt x="321271" y="168695"/>
                  </a:cubicBezTo>
                  <a:lnTo>
                    <a:pt x="179499" y="320413"/>
                  </a:lnTo>
                  <a:cubicBezTo>
                    <a:pt x="177630" y="322458"/>
                    <a:pt x="174960" y="323613"/>
                    <a:pt x="172112" y="323613"/>
                  </a:cubicBezTo>
                  <a:lnTo>
                    <a:pt x="10137" y="323613"/>
                  </a:lnTo>
                  <a:cubicBezTo>
                    <a:pt x="6043" y="323613"/>
                    <a:pt x="2305" y="321124"/>
                    <a:pt x="792" y="317391"/>
                  </a:cubicBezTo>
                  <a:cubicBezTo>
                    <a:pt x="-810" y="313570"/>
                    <a:pt x="80" y="309214"/>
                    <a:pt x="2928" y="306370"/>
                  </a:cubicBezTo>
                  <a:lnTo>
                    <a:pt x="147727" y="161762"/>
                  </a:lnTo>
                  <a:lnTo>
                    <a:pt x="2928" y="17243"/>
                  </a:lnTo>
                  <a:cubicBezTo>
                    <a:pt x="80" y="14399"/>
                    <a:pt x="-810" y="10043"/>
                    <a:pt x="792" y="6222"/>
                  </a:cubicBezTo>
                  <a:cubicBezTo>
                    <a:pt x="2305" y="2489"/>
                    <a:pt x="6043" y="0"/>
                    <a:pt x="10137" y="0"/>
                  </a:cubicBezTo>
                  <a:close/>
                </a:path>
              </a:pathLst>
            </a:cu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组合 3"/>
          <p:cNvGrpSpPr/>
          <p:nvPr>
            <p:custDataLst>
              <p:tags r:id="rId6"/>
            </p:custDataLst>
          </p:nvPr>
        </p:nvGrpSpPr>
        <p:grpSpPr>
          <a:xfrm>
            <a:off x="6038062" y="2717080"/>
            <a:ext cx="5480838" cy="925842"/>
            <a:chOff x="6038062" y="2717080"/>
            <a:chExt cx="5480838" cy="925842"/>
          </a:xfrm>
        </p:grpSpPr>
        <p:sp>
          <p:nvSpPr>
            <p:cNvPr id="22" name="Bullet2"/>
            <p:cNvSpPr txBox="1"/>
            <p:nvPr>
              <p:custDataLst>
                <p:tags r:id="rId7"/>
              </p:custDataLst>
            </p:nvPr>
          </p:nvSpPr>
          <p:spPr>
            <a:xfrm>
              <a:off x="7812133" y="2717080"/>
              <a:ext cx="3706767" cy="461665"/>
            </a:xfrm>
            <a:prstGeom prst="rect">
              <a:avLst/>
            </a:prstGeom>
            <a:noFill/>
          </p:spPr>
          <p:txBody>
            <a:bodyPr wrap="square" rtlCol="0" anchor="b" anchorCtr="0">
              <a:normAutofit/>
            </a:bodyPr>
            <a:lstStyle/>
            <a:p>
              <a:r>
                <a:rPr lang="zh-CN" altLang="en-US" b="1" dirty="0"/>
                <a:t>单击此处添加标题</a:t>
              </a:r>
              <a:endParaRPr lang="zh-CN" altLang="en-US" b="1" dirty="0"/>
            </a:p>
          </p:txBody>
        </p:sp>
        <p:sp>
          <p:nvSpPr>
            <p:cNvPr id="23" name="Text2"/>
            <p:cNvSpPr txBox="1"/>
            <p:nvPr>
              <p:custDataLst>
                <p:tags r:id="rId8"/>
              </p:custDataLst>
            </p:nvPr>
          </p:nvSpPr>
          <p:spPr>
            <a:xfrm>
              <a:off x="7812133" y="3181257"/>
              <a:ext cx="3706767" cy="461665"/>
            </a:xfrm>
            <a:prstGeom prst="rect">
              <a:avLst/>
            </a:prstGeom>
            <a:noFill/>
          </p:spPr>
          <p:txBody>
            <a:bodyPr wrap="square" rtlCol="0" anchor="t" anchorCtr="0">
              <a:normAutofit/>
            </a:bodyPr>
            <a:lstStyle/>
            <a:p>
              <a:pPr>
                <a:lnSpc>
                  <a:spcPct val="120000"/>
                </a:lnSpc>
              </a:pPr>
              <a:r>
                <a:rPr kumimoji="0" lang="zh-CN" altLang="en-US" sz="1200" i="0" u="none" strike="noStrike" kern="1200" cap="none" spc="0" normalizeH="0" baseline="0" noProof="0" dirty="0">
                  <a:ln>
                    <a:noFill/>
                  </a:ln>
                  <a:effectLst/>
                  <a:uLnTx/>
                  <a:uFillTx/>
                </a:rPr>
                <a:t>请输入文本内容请输入文本内容</a:t>
              </a:r>
              <a:endParaRPr kumimoji="0" lang="zh-CN" altLang="en-US" sz="1200" i="0" u="none" strike="noStrike" kern="1200" cap="none" spc="0" normalizeH="0" baseline="0" noProof="0" dirty="0">
                <a:ln>
                  <a:noFill/>
                </a:ln>
                <a:effectLst/>
                <a:uLnTx/>
                <a:uFillTx/>
              </a:endParaRPr>
            </a:p>
          </p:txBody>
        </p:sp>
        <p:sp>
          <p:nvSpPr>
            <p:cNvPr id="31" name="Number2"/>
            <p:cNvSpPr txBox="1"/>
            <p:nvPr>
              <p:custDataLst>
                <p:tags r:id="rId9"/>
              </p:custDataLst>
            </p:nvPr>
          </p:nvSpPr>
          <p:spPr>
            <a:xfrm>
              <a:off x="7033947" y="2957887"/>
              <a:ext cx="612668" cy="461665"/>
            </a:xfrm>
            <a:prstGeom prst="rect">
              <a:avLst/>
            </a:prstGeom>
            <a:noFill/>
            <a:effectLst/>
          </p:spPr>
          <p:txBody>
            <a:bodyPr wrap="none" rtlCol="0">
              <a:spAutoFit/>
            </a:bodyPr>
            <a:lstStyle>
              <a:defPPr>
                <a:defRPr lang="zh-CN"/>
              </a:defPPr>
              <a:lvl1pPr>
                <a:defRPr sz="3200" b="1" i="1">
                  <a:gradFill>
                    <a:gsLst>
                      <a:gs pos="0">
                        <a:schemeClr val="accent2">
                          <a:lumMod val="60000"/>
                          <a:lumOff val="40000"/>
                        </a:schemeClr>
                      </a:gs>
                      <a:gs pos="60000">
                        <a:schemeClr val="accent2"/>
                      </a:gs>
                    </a:gsLst>
                    <a:lin ang="2700000" scaled="0"/>
                  </a:gradFill>
                  <a:effectLst>
                    <a:outerShdw blurRad="76200" dist="50800" dir="5400000" algn="ctr" rotWithShape="0">
                      <a:schemeClr val="accent2">
                        <a:alpha val="20000"/>
                      </a:schemeClr>
                    </a:outerShdw>
                  </a:effectLst>
                </a:defRPr>
              </a:lvl1pPr>
            </a:lstStyle>
            <a:p>
              <a:r>
                <a:rPr lang="en-US" altLang="zh-CN" sz="2400" i="0" dirty="0">
                  <a:solidFill>
                    <a:schemeClr val="accent2"/>
                  </a:solidFill>
                  <a:effectLst/>
                </a:rPr>
                <a:t>02.</a:t>
              </a:r>
              <a:endParaRPr lang="zh-CN" altLang="en-US" sz="2400" i="0" dirty="0">
                <a:solidFill>
                  <a:schemeClr val="accent2"/>
                </a:solidFill>
                <a:effectLst/>
              </a:endParaRPr>
            </a:p>
          </p:txBody>
        </p:sp>
        <p:sp>
          <p:nvSpPr>
            <p:cNvPr id="46" name="shape2"/>
            <p:cNvSpPr/>
            <p:nvPr>
              <p:custDataLst>
                <p:tags r:id="rId10"/>
              </p:custDataLst>
            </p:nvPr>
          </p:nvSpPr>
          <p:spPr>
            <a:xfrm>
              <a:off x="6038062" y="2949041"/>
              <a:ext cx="609685" cy="324718"/>
            </a:xfrm>
            <a:custGeom>
              <a:avLst/>
              <a:gdLst>
                <a:gd name="connsiteX0" fmla="*/ 293671 w 607609"/>
                <a:gd name="connsiteY0" fmla="*/ 0 h 323613"/>
                <a:gd name="connsiteX1" fmla="*/ 455681 w 607609"/>
                <a:gd name="connsiteY1" fmla="*/ 0 h 323613"/>
                <a:gd name="connsiteX2" fmla="*/ 463069 w 607609"/>
                <a:gd name="connsiteY2" fmla="*/ 3200 h 323613"/>
                <a:gd name="connsiteX3" fmla="*/ 604872 w 607609"/>
                <a:gd name="connsiteY3" fmla="*/ 154918 h 323613"/>
                <a:gd name="connsiteX4" fmla="*/ 604872 w 607609"/>
                <a:gd name="connsiteY4" fmla="*/ 168695 h 323613"/>
                <a:gd name="connsiteX5" fmla="*/ 463069 w 607609"/>
                <a:gd name="connsiteY5" fmla="*/ 320413 h 323613"/>
                <a:gd name="connsiteX6" fmla="*/ 455681 w 607609"/>
                <a:gd name="connsiteY6" fmla="*/ 323613 h 323613"/>
                <a:gd name="connsiteX7" fmla="*/ 293671 w 607609"/>
                <a:gd name="connsiteY7" fmla="*/ 323613 h 323613"/>
                <a:gd name="connsiteX8" fmla="*/ 284324 w 607609"/>
                <a:gd name="connsiteY8" fmla="*/ 317391 h 323613"/>
                <a:gd name="connsiteX9" fmla="*/ 286461 w 607609"/>
                <a:gd name="connsiteY9" fmla="*/ 306370 h 323613"/>
                <a:gd name="connsiteX10" fmla="*/ 431201 w 607609"/>
                <a:gd name="connsiteY10" fmla="*/ 161762 h 323613"/>
                <a:gd name="connsiteX11" fmla="*/ 286461 w 607609"/>
                <a:gd name="connsiteY11" fmla="*/ 17243 h 323613"/>
                <a:gd name="connsiteX12" fmla="*/ 284324 w 607609"/>
                <a:gd name="connsiteY12" fmla="*/ 6222 h 323613"/>
                <a:gd name="connsiteX13" fmla="*/ 293671 w 607609"/>
                <a:gd name="connsiteY13" fmla="*/ 0 h 323613"/>
                <a:gd name="connsiteX14" fmla="*/ 10137 w 607609"/>
                <a:gd name="connsiteY14" fmla="*/ 0 h 323613"/>
                <a:gd name="connsiteX15" fmla="*/ 172112 w 607609"/>
                <a:gd name="connsiteY15" fmla="*/ 0 h 323613"/>
                <a:gd name="connsiteX16" fmla="*/ 179499 w 607609"/>
                <a:gd name="connsiteY16" fmla="*/ 3200 h 323613"/>
                <a:gd name="connsiteX17" fmla="*/ 321271 w 607609"/>
                <a:gd name="connsiteY17" fmla="*/ 154918 h 323613"/>
                <a:gd name="connsiteX18" fmla="*/ 321271 w 607609"/>
                <a:gd name="connsiteY18" fmla="*/ 168695 h 323613"/>
                <a:gd name="connsiteX19" fmla="*/ 179499 w 607609"/>
                <a:gd name="connsiteY19" fmla="*/ 320413 h 323613"/>
                <a:gd name="connsiteX20" fmla="*/ 172112 w 607609"/>
                <a:gd name="connsiteY20" fmla="*/ 323613 h 323613"/>
                <a:gd name="connsiteX21" fmla="*/ 10137 w 607609"/>
                <a:gd name="connsiteY21" fmla="*/ 323613 h 323613"/>
                <a:gd name="connsiteX22" fmla="*/ 792 w 607609"/>
                <a:gd name="connsiteY22" fmla="*/ 317391 h 323613"/>
                <a:gd name="connsiteX23" fmla="*/ 2928 w 607609"/>
                <a:gd name="connsiteY23" fmla="*/ 306370 h 323613"/>
                <a:gd name="connsiteX24" fmla="*/ 147727 w 607609"/>
                <a:gd name="connsiteY24" fmla="*/ 161762 h 323613"/>
                <a:gd name="connsiteX25" fmla="*/ 2928 w 607609"/>
                <a:gd name="connsiteY25" fmla="*/ 17243 h 323613"/>
                <a:gd name="connsiteX26" fmla="*/ 792 w 607609"/>
                <a:gd name="connsiteY26" fmla="*/ 6222 h 323613"/>
                <a:gd name="connsiteX27" fmla="*/ 10137 w 607609"/>
                <a:gd name="connsiteY27" fmla="*/ 0 h 32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7609" h="323613">
                  <a:moveTo>
                    <a:pt x="293671" y="0"/>
                  </a:moveTo>
                  <a:lnTo>
                    <a:pt x="455681" y="0"/>
                  </a:lnTo>
                  <a:cubicBezTo>
                    <a:pt x="458529" y="0"/>
                    <a:pt x="461200" y="1155"/>
                    <a:pt x="463069" y="3200"/>
                  </a:cubicBezTo>
                  <a:lnTo>
                    <a:pt x="604872" y="154918"/>
                  </a:lnTo>
                  <a:cubicBezTo>
                    <a:pt x="608522" y="158740"/>
                    <a:pt x="608522" y="164784"/>
                    <a:pt x="604872" y="168695"/>
                  </a:cubicBezTo>
                  <a:lnTo>
                    <a:pt x="463069" y="320413"/>
                  </a:lnTo>
                  <a:cubicBezTo>
                    <a:pt x="461200" y="322458"/>
                    <a:pt x="458529" y="323613"/>
                    <a:pt x="455681" y="323613"/>
                  </a:cubicBezTo>
                  <a:lnTo>
                    <a:pt x="293671" y="323613"/>
                  </a:lnTo>
                  <a:cubicBezTo>
                    <a:pt x="289576" y="323613"/>
                    <a:pt x="285838" y="321124"/>
                    <a:pt x="284324" y="317391"/>
                  </a:cubicBezTo>
                  <a:cubicBezTo>
                    <a:pt x="282722" y="313570"/>
                    <a:pt x="283612" y="309214"/>
                    <a:pt x="286461" y="306370"/>
                  </a:cubicBezTo>
                  <a:lnTo>
                    <a:pt x="431201" y="161762"/>
                  </a:lnTo>
                  <a:lnTo>
                    <a:pt x="286461" y="17243"/>
                  </a:lnTo>
                  <a:cubicBezTo>
                    <a:pt x="283612" y="14399"/>
                    <a:pt x="282722" y="10043"/>
                    <a:pt x="284324" y="6222"/>
                  </a:cubicBezTo>
                  <a:cubicBezTo>
                    <a:pt x="285838" y="2489"/>
                    <a:pt x="289576" y="0"/>
                    <a:pt x="293671" y="0"/>
                  </a:cubicBezTo>
                  <a:close/>
                  <a:moveTo>
                    <a:pt x="10137" y="0"/>
                  </a:moveTo>
                  <a:lnTo>
                    <a:pt x="172112" y="0"/>
                  </a:lnTo>
                  <a:cubicBezTo>
                    <a:pt x="174960" y="0"/>
                    <a:pt x="177630" y="1155"/>
                    <a:pt x="179499" y="3200"/>
                  </a:cubicBezTo>
                  <a:lnTo>
                    <a:pt x="321271" y="154918"/>
                  </a:lnTo>
                  <a:cubicBezTo>
                    <a:pt x="324920" y="158740"/>
                    <a:pt x="324920" y="164784"/>
                    <a:pt x="321271" y="168695"/>
                  </a:cubicBezTo>
                  <a:lnTo>
                    <a:pt x="179499" y="320413"/>
                  </a:lnTo>
                  <a:cubicBezTo>
                    <a:pt x="177630" y="322458"/>
                    <a:pt x="174960" y="323613"/>
                    <a:pt x="172112" y="323613"/>
                  </a:cubicBezTo>
                  <a:lnTo>
                    <a:pt x="10137" y="323613"/>
                  </a:lnTo>
                  <a:cubicBezTo>
                    <a:pt x="6043" y="323613"/>
                    <a:pt x="2305" y="321124"/>
                    <a:pt x="792" y="317391"/>
                  </a:cubicBezTo>
                  <a:cubicBezTo>
                    <a:pt x="-810" y="313570"/>
                    <a:pt x="80" y="309214"/>
                    <a:pt x="2928" y="306370"/>
                  </a:cubicBezTo>
                  <a:lnTo>
                    <a:pt x="147727" y="161762"/>
                  </a:lnTo>
                  <a:lnTo>
                    <a:pt x="2928" y="17243"/>
                  </a:lnTo>
                  <a:cubicBezTo>
                    <a:pt x="80" y="14399"/>
                    <a:pt x="-810" y="10043"/>
                    <a:pt x="792" y="6222"/>
                  </a:cubicBezTo>
                  <a:cubicBezTo>
                    <a:pt x="2305" y="2489"/>
                    <a:pt x="6043" y="0"/>
                    <a:pt x="10137" y="0"/>
                  </a:cubicBezTo>
                  <a:close/>
                </a:path>
              </a:pathLst>
            </a:cu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组合 4"/>
          <p:cNvGrpSpPr/>
          <p:nvPr>
            <p:custDataLst>
              <p:tags r:id="rId11"/>
            </p:custDataLst>
          </p:nvPr>
        </p:nvGrpSpPr>
        <p:grpSpPr>
          <a:xfrm>
            <a:off x="6038062" y="3787142"/>
            <a:ext cx="5480838" cy="925842"/>
            <a:chOff x="6038062" y="3787142"/>
            <a:chExt cx="5480838" cy="925842"/>
          </a:xfrm>
        </p:grpSpPr>
        <p:sp>
          <p:nvSpPr>
            <p:cNvPr id="25" name="Bullet3"/>
            <p:cNvSpPr txBox="1"/>
            <p:nvPr>
              <p:custDataLst>
                <p:tags r:id="rId12"/>
              </p:custDataLst>
            </p:nvPr>
          </p:nvSpPr>
          <p:spPr>
            <a:xfrm>
              <a:off x="7812133" y="3787142"/>
              <a:ext cx="3706767" cy="461665"/>
            </a:xfrm>
            <a:prstGeom prst="rect">
              <a:avLst/>
            </a:prstGeom>
            <a:noFill/>
          </p:spPr>
          <p:txBody>
            <a:bodyPr wrap="square" rtlCol="0" anchor="b" anchorCtr="0">
              <a:normAutofit/>
            </a:bodyPr>
            <a:lstStyle/>
            <a:p>
              <a:r>
                <a:rPr lang="zh-CN" altLang="en-US" b="1" dirty="0"/>
                <a:t>单击此处添加标题</a:t>
              </a:r>
              <a:endParaRPr lang="zh-CN" altLang="en-US" b="1" dirty="0"/>
            </a:p>
          </p:txBody>
        </p:sp>
        <p:sp>
          <p:nvSpPr>
            <p:cNvPr id="26" name="Text3"/>
            <p:cNvSpPr txBox="1"/>
            <p:nvPr>
              <p:custDataLst>
                <p:tags r:id="rId13"/>
              </p:custDataLst>
            </p:nvPr>
          </p:nvSpPr>
          <p:spPr>
            <a:xfrm>
              <a:off x="7812133" y="4251319"/>
              <a:ext cx="3706767" cy="461665"/>
            </a:xfrm>
            <a:prstGeom prst="rect">
              <a:avLst/>
            </a:prstGeom>
            <a:noFill/>
          </p:spPr>
          <p:txBody>
            <a:bodyPr wrap="square" rtlCol="0" anchor="t" anchorCtr="0">
              <a:normAutofit/>
            </a:bodyPr>
            <a:lstStyle/>
            <a:p>
              <a:pPr>
                <a:lnSpc>
                  <a:spcPct val="120000"/>
                </a:lnSpc>
              </a:pPr>
              <a:r>
                <a:rPr kumimoji="0" lang="zh-CN" altLang="en-US" sz="1200" i="0" u="none" strike="noStrike" kern="1200" cap="none" spc="0" normalizeH="0" baseline="0" noProof="0" dirty="0">
                  <a:ln>
                    <a:noFill/>
                  </a:ln>
                  <a:effectLst/>
                  <a:uLnTx/>
                  <a:uFillTx/>
                </a:rPr>
                <a:t>请输入文本内容请输入文本内容</a:t>
              </a:r>
              <a:endParaRPr kumimoji="0" lang="zh-CN" altLang="en-US" sz="1200" i="0" u="none" strike="noStrike" kern="1200" cap="none" spc="0" normalizeH="0" baseline="0" noProof="0" dirty="0">
                <a:ln>
                  <a:noFill/>
                </a:ln>
                <a:effectLst/>
                <a:uLnTx/>
                <a:uFillTx/>
              </a:endParaRPr>
            </a:p>
          </p:txBody>
        </p:sp>
        <p:sp>
          <p:nvSpPr>
            <p:cNvPr id="32" name="Number3"/>
            <p:cNvSpPr txBox="1"/>
            <p:nvPr>
              <p:custDataLst>
                <p:tags r:id="rId14"/>
              </p:custDataLst>
            </p:nvPr>
          </p:nvSpPr>
          <p:spPr>
            <a:xfrm>
              <a:off x="7033947" y="4027949"/>
              <a:ext cx="612668" cy="461665"/>
            </a:xfrm>
            <a:prstGeom prst="rect">
              <a:avLst/>
            </a:prstGeom>
            <a:noFill/>
            <a:effectLst/>
          </p:spPr>
          <p:txBody>
            <a:bodyPr wrap="none" rtlCol="0">
              <a:spAutoFit/>
            </a:bodyPr>
            <a:lstStyle>
              <a:defPPr>
                <a:defRPr lang="zh-CN"/>
              </a:defPPr>
              <a:lvl1pPr>
                <a:defRPr sz="3200" b="1" i="1">
                  <a:gradFill>
                    <a:gsLst>
                      <a:gs pos="0">
                        <a:schemeClr val="accent3">
                          <a:lumMod val="60000"/>
                          <a:lumOff val="40000"/>
                        </a:schemeClr>
                      </a:gs>
                      <a:gs pos="60000">
                        <a:schemeClr val="accent3"/>
                      </a:gs>
                    </a:gsLst>
                    <a:lin ang="2700000" scaled="0"/>
                  </a:gradFill>
                  <a:effectLst>
                    <a:outerShdw blurRad="76200" dist="50800" dir="5400000" algn="ctr" rotWithShape="0">
                      <a:schemeClr val="accent3">
                        <a:alpha val="20000"/>
                      </a:schemeClr>
                    </a:outerShdw>
                  </a:effectLst>
                </a:defRPr>
              </a:lvl1pPr>
            </a:lstStyle>
            <a:p>
              <a:r>
                <a:rPr lang="en-US" altLang="zh-CN" sz="2400" i="0">
                  <a:solidFill>
                    <a:schemeClr val="accent1"/>
                  </a:solidFill>
                  <a:effectLst/>
                </a:rPr>
                <a:t>03.</a:t>
              </a:r>
              <a:endParaRPr lang="zh-CN" altLang="en-US" sz="2400" i="0" dirty="0">
                <a:solidFill>
                  <a:schemeClr val="accent1"/>
                </a:solidFill>
                <a:effectLst/>
              </a:endParaRPr>
            </a:p>
          </p:txBody>
        </p:sp>
        <p:sp>
          <p:nvSpPr>
            <p:cNvPr id="47" name="shape3"/>
            <p:cNvSpPr/>
            <p:nvPr>
              <p:custDataLst>
                <p:tags r:id="rId15"/>
              </p:custDataLst>
            </p:nvPr>
          </p:nvSpPr>
          <p:spPr>
            <a:xfrm>
              <a:off x="6038062" y="4027949"/>
              <a:ext cx="609685" cy="324718"/>
            </a:xfrm>
            <a:custGeom>
              <a:avLst/>
              <a:gdLst>
                <a:gd name="connsiteX0" fmla="*/ 293671 w 607609"/>
                <a:gd name="connsiteY0" fmla="*/ 0 h 323613"/>
                <a:gd name="connsiteX1" fmla="*/ 455681 w 607609"/>
                <a:gd name="connsiteY1" fmla="*/ 0 h 323613"/>
                <a:gd name="connsiteX2" fmla="*/ 463069 w 607609"/>
                <a:gd name="connsiteY2" fmla="*/ 3200 h 323613"/>
                <a:gd name="connsiteX3" fmla="*/ 604872 w 607609"/>
                <a:gd name="connsiteY3" fmla="*/ 154918 h 323613"/>
                <a:gd name="connsiteX4" fmla="*/ 604872 w 607609"/>
                <a:gd name="connsiteY4" fmla="*/ 168695 h 323613"/>
                <a:gd name="connsiteX5" fmla="*/ 463069 w 607609"/>
                <a:gd name="connsiteY5" fmla="*/ 320413 h 323613"/>
                <a:gd name="connsiteX6" fmla="*/ 455681 w 607609"/>
                <a:gd name="connsiteY6" fmla="*/ 323613 h 323613"/>
                <a:gd name="connsiteX7" fmla="*/ 293671 w 607609"/>
                <a:gd name="connsiteY7" fmla="*/ 323613 h 323613"/>
                <a:gd name="connsiteX8" fmla="*/ 284324 w 607609"/>
                <a:gd name="connsiteY8" fmla="*/ 317391 h 323613"/>
                <a:gd name="connsiteX9" fmla="*/ 286461 w 607609"/>
                <a:gd name="connsiteY9" fmla="*/ 306370 h 323613"/>
                <a:gd name="connsiteX10" fmla="*/ 431201 w 607609"/>
                <a:gd name="connsiteY10" fmla="*/ 161762 h 323613"/>
                <a:gd name="connsiteX11" fmla="*/ 286461 w 607609"/>
                <a:gd name="connsiteY11" fmla="*/ 17243 h 323613"/>
                <a:gd name="connsiteX12" fmla="*/ 284324 w 607609"/>
                <a:gd name="connsiteY12" fmla="*/ 6222 h 323613"/>
                <a:gd name="connsiteX13" fmla="*/ 293671 w 607609"/>
                <a:gd name="connsiteY13" fmla="*/ 0 h 323613"/>
                <a:gd name="connsiteX14" fmla="*/ 10137 w 607609"/>
                <a:gd name="connsiteY14" fmla="*/ 0 h 323613"/>
                <a:gd name="connsiteX15" fmla="*/ 172112 w 607609"/>
                <a:gd name="connsiteY15" fmla="*/ 0 h 323613"/>
                <a:gd name="connsiteX16" fmla="*/ 179499 w 607609"/>
                <a:gd name="connsiteY16" fmla="*/ 3200 h 323613"/>
                <a:gd name="connsiteX17" fmla="*/ 321271 w 607609"/>
                <a:gd name="connsiteY17" fmla="*/ 154918 h 323613"/>
                <a:gd name="connsiteX18" fmla="*/ 321271 w 607609"/>
                <a:gd name="connsiteY18" fmla="*/ 168695 h 323613"/>
                <a:gd name="connsiteX19" fmla="*/ 179499 w 607609"/>
                <a:gd name="connsiteY19" fmla="*/ 320413 h 323613"/>
                <a:gd name="connsiteX20" fmla="*/ 172112 w 607609"/>
                <a:gd name="connsiteY20" fmla="*/ 323613 h 323613"/>
                <a:gd name="connsiteX21" fmla="*/ 10137 w 607609"/>
                <a:gd name="connsiteY21" fmla="*/ 323613 h 323613"/>
                <a:gd name="connsiteX22" fmla="*/ 792 w 607609"/>
                <a:gd name="connsiteY22" fmla="*/ 317391 h 323613"/>
                <a:gd name="connsiteX23" fmla="*/ 2928 w 607609"/>
                <a:gd name="connsiteY23" fmla="*/ 306370 h 323613"/>
                <a:gd name="connsiteX24" fmla="*/ 147727 w 607609"/>
                <a:gd name="connsiteY24" fmla="*/ 161762 h 323613"/>
                <a:gd name="connsiteX25" fmla="*/ 2928 w 607609"/>
                <a:gd name="connsiteY25" fmla="*/ 17243 h 323613"/>
                <a:gd name="connsiteX26" fmla="*/ 792 w 607609"/>
                <a:gd name="connsiteY26" fmla="*/ 6222 h 323613"/>
                <a:gd name="connsiteX27" fmla="*/ 10137 w 607609"/>
                <a:gd name="connsiteY27" fmla="*/ 0 h 32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7609" h="323613">
                  <a:moveTo>
                    <a:pt x="293671" y="0"/>
                  </a:moveTo>
                  <a:lnTo>
                    <a:pt x="455681" y="0"/>
                  </a:lnTo>
                  <a:cubicBezTo>
                    <a:pt x="458529" y="0"/>
                    <a:pt x="461200" y="1155"/>
                    <a:pt x="463069" y="3200"/>
                  </a:cubicBezTo>
                  <a:lnTo>
                    <a:pt x="604872" y="154918"/>
                  </a:lnTo>
                  <a:cubicBezTo>
                    <a:pt x="608522" y="158740"/>
                    <a:pt x="608522" y="164784"/>
                    <a:pt x="604872" y="168695"/>
                  </a:cubicBezTo>
                  <a:lnTo>
                    <a:pt x="463069" y="320413"/>
                  </a:lnTo>
                  <a:cubicBezTo>
                    <a:pt x="461200" y="322458"/>
                    <a:pt x="458529" y="323613"/>
                    <a:pt x="455681" y="323613"/>
                  </a:cubicBezTo>
                  <a:lnTo>
                    <a:pt x="293671" y="323613"/>
                  </a:lnTo>
                  <a:cubicBezTo>
                    <a:pt x="289576" y="323613"/>
                    <a:pt x="285838" y="321124"/>
                    <a:pt x="284324" y="317391"/>
                  </a:cubicBezTo>
                  <a:cubicBezTo>
                    <a:pt x="282722" y="313570"/>
                    <a:pt x="283612" y="309214"/>
                    <a:pt x="286461" y="306370"/>
                  </a:cubicBezTo>
                  <a:lnTo>
                    <a:pt x="431201" y="161762"/>
                  </a:lnTo>
                  <a:lnTo>
                    <a:pt x="286461" y="17243"/>
                  </a:lnTo>
                  <a:cubicBezTo>
                    <a:pt x="283612" y="14399"/>
                    <a:pt x="282722" y="10043"/>
                    <a:pt x="284324" y="6222"/>
                  </a:cubicBezTo>
                  <a:cubicBezTo>
                    <a:pt x="285838" y="2489"/>
                    <a:pt x="289576" y="0"/>
                    <a:pt x="293671" y="0"/>
                  </a:cubicBezTo>
                  <a:close/>
                  <a:moveTo>
                    <a:pt x="10137" y="0"/>
                  </a:moveTo>
                  <a:lnTo>
                    <a:pt x="172112" y="0"/>
                  </a:lnTo>
                  <a:cubicBezTo>
                    <a:pt x="174960" y="0"/>
                    <a:pt x="177630" y="1155"/>
                    <a:pt x="179499" y="3200"/>
                  </a:cubicBezTo>
                  <a:lnTo>
                    <a:pt x="321271" y="154918"/>
                  </a:lnTo>
                  <a:cubicBezTo>
                    <a:pt x="324920" y="158740"/>
                    <a:pt x="324920" y="164784"/>
                    <a:pt x="321271" y="168695"/>
                  </a:cubicBezTo>
                  <a:lnTo>
                    <a:pt x="179499" y="320413"/>
                  </a:lnTo>
                  <a:cubicBezTo>
                    <a:pt x="177630" y="322458"/>
                    <a:pt x="174960" y="323613"/>
                    <a:pt x="172112" y="323613"/>
                  </a:cubicBezTo>
                  <a:lnTo>
                    <a:pt x="10137" y="323613"/>
                  </a:lnTo>
                  <a:cubicBezTo>
                    <a:pt x="6043" y="323613"/>
                    <a:pt x="2305" y="321124"/>
                    <a:pt x="792" y="317391"/>
                  </a:cubicBezTo>
                  <a:cubicBezTo>
                    <a:pt x="-810" y="313570"/>
                    <a:pt x="80" y="309214"/>
                    <a:pt x="2928" y="306370"/>
                  </a:cubicBezTo>
                  <a:lnTo>
                    <a:pt x="147727" y="161762"/>
                  </a:lnTo>
                  <a:lnTo>
                    <a:pt x="2928" y="17243"/>
                  </a:lnTo>
                  <a:cubicBezTo>
                    <a:pt x="80" y="14399"/>
                    <a:pt x="-810" y="10043"/>
                    <a:pt x="792" y="6222"/>
                  </a:cubicBezTo>
                  <a:cubicBezTo>
                    <a:pt x="2305" y="2489"/>
                    <a:pt x="6043" y="0"/>
                    <a:pt x="10137" y="0"/>
                  </a:cubicBezTo>
                  <a:close/>
                </a:path>
              </a:pathLst>
            </a:cu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组合 5"/>
          <p:cNvGrpSpPr/>
          <p:nvPr>
            <p:custDataLst>
              <p:tags r:id="rId16"/>
            </p:custDataLst>
          </p:nvPr>
        </p:nvGrpSpPr>
        <p:grpSpPr>
          <a:xfrm>
            <a:off x="6038062" y="4857203"/>
            <a:ext cx="5480838" cy="925842"/>
            <a:chOff x="6038062" y="4857203"/>
            <a:chExt cx="5480838" cy="925842"/>
          </a:xfrm>
        </p:grpSpPr>
        <p:sp>
          <p:nvSpPr>
            <p:cNvPr id="28" name="Bullet4"/>
            <p:cNvSpPr txBox="1"/>
            <p:nvPr>
              <p:custDataLst>
                <p:tags r:id="rId17"/>
              </p:custDataLst>
            </p:nvPr>
          </p:nvSpPr>
          <p:spPr>
            <a:xfrm>
              <a:off x="7812133" y="4857203"/>
              <a:ext cx="3706767" cy="461665"/>
            </a:xfrm>
            <a:prstGeom prst="rect">
              <a:avLst/>
            </a:prstGeom>
            <a:noFill/>
          </p:spPr>
          <p:txBody>
            <a:bodyPr wrap="square" rtlCol="0" anchor="b" anchorCtr="0">
              <a:normAutofit/>
            </a:bodyPr>
            <a:lstStyle/>
            <a:p>
              <a:r>
                <a:rPr lang="zh-CN" altLang="en-US" b="1" dirty="0"/>
                <a:t>单击此处添加标题</a:t>
              </a:r>
              <a:endParaRPr lang="zh-CN" altLang="en-US" b="1" dirty="0"/>
            </a:p>
          </p:txBody>
        </p:sp>
        <p:sp>
          <p:nvSpPr>
            <p:cNvPr id="29" name="Text4"/>
            <p:cNvSpPr txBox="1"/>
            <p:nvPr>
              <p:custDataLst>
                <p:tags r:id="rId18"/>
              </p:custDataLst>
            </p:nvPr>
          </p:nvSpPr>
          <p:spPr>
            <a:xfrm>
              <a:off x="7812133" y="5321380"/>
              <a:ext cx="3706767" cy="461665"/>
            </a:xfrm>
            <a:prstGeom prst="rect">
              <a:avLst/>
            </a:prstGeom>
            <a:noFill/>
          </p:spPr>
          <p:txBody>
            <a:bodyPr wrap="square" rtlCol="0" anchor="t" anchorCtr="0">
              <a:normAutofit/>
            </a:bodyPr>
            <a:lstStyle/>
            <a:p>
              <a:pPr>
                <a:lnSpc>
                  <a:spcPct val="120000"/>
                </a:lnSpc>
              </a:pPr>
              <a:r>
                <a:rPr kumimoji="0" lang="zh-CN" altLang="en-US" sz="1200" i="0" u="none" strike="noStrike" kern="1200" cap="none" spc="0" normalizeH="0" baseline="0" noProof="0" dirty="0">
                  <a:ln>
                    <a:noFill/>
                  </a:ln>
                  <a:effectLst/>
                  <a:uLnTx/>
                  <a:uFillTx/>
                </a:rPr>
                <a:t>请输入文本内容请输入文本内容</a:t>
              </a:r>
              <a:endParaRPr kumimoji="0" lang="zh-CN" altLang="en-US" sz="1200" i="0" u="none" strike="noStrike" kern="1200" cap="none" spc="0" normalizeH="0" baseline="0" noProof="0" dirty="0">
                <a:ln>
                  <a:noFill/>
                </a:ln>
                <a:effectLst/>
                <a:uLnTx/>
                <a:uFillTx/>
              </a:endParaRPr>
            </a:p>
          </p:txBody>
        </p:sp>
        <p:sp>
          <p:nvSpPr>
            <p:cNvPr id="33" name="Number4"/>
            <p:cNvSpPr txBox="1"/>
            <p:nvPr>
              <p:custDataLst>
                <p:tags r:id="rId19"/>
              </p:custDataLst>
            </p:nvPr>
          </p:nvSpPr>
          <p:spPr>
            <a:xfrm>
              <a:off x="7033947" y="5058514"/>
              <a:ext cx="612668" cy="461665"/>
            </a:xfrm>
            <a:prstGeom prst="rect">
              <a:avLst/>
            </a:prstGeom>
            <a:noFill/>
            <a:effectLst/>
          </p:spPr>
          <p:txBody>
            <a:bodyPr wrap="none" rtlCol="0">
              <a:spAutoFit/>
            </a:bodyPr>
            <a:lstStyle>
              <a:defPPr>
                <a:defRPr lang="zh-CN"/>
              </a:defPPr>
              <a:lvl1pPr>
                <a:defRPr sz="3200" b="1" i="1">
                  <a:gradFill>
                    <a:gsLst>
                      <a:gs pos="0">
                        <a:schemeClr val="accent4">
                          <a:lumMod val="60000"/>
                          <a:lumOff val="40000"/>
                        </a:schemeClr>
                      </a:gs>
                      <a:gs pos="60000">
                        <a:schemeClr val="accent4"/>
                      </a:gs>
                    </a:gsLst>
                    <a:lin ang="2700000" scaled="0"/>
                  </a:gradFill>
                  <a:effectLst>
                    <a:outerShdw blurRad="76200" dist="50800" dir="5400000" algn="ctr" rotWithShape="0">
                      <a:schemeClr val="accent4">
                        <a:alpha val="20000"/>
                      </a:schemeClr>
                    </a:outerShdw>
                  </a:effectLst>
                </a:defRPr>
              </a:lvl1pPr>
            </a:lstStyle>
            <a:p>
              <a:r>
                <a:rPr lang="en-US" altLang="zh-CN" sz="2400" i="0">
                  <a:solidFill>
                    <a:schemeClr val="accent2"/>
                  </a:solidFill>
                  <a:effectLst/>
                </a:rPr>
                <a:t>04.</a:t>
              </a:r>
              <a:endParaRPr lang="zh-CN" altLang="en-US" sz="2400" i="0" dirty="0">
                <a:solidFill>
                  <a:schemeClr val="accent2"/>
                </a:solidFill>
                <a:effectLst/>
              </a:endParaRPr>
            </a:p>
          </p:txBody>
        </p:sp>
        <p:sp>
          <p:nvSpPr>
            <p:cNvPr id="48" name="shape4"/>
            <p:cNvSpPr/>
            <p:nvPr>
              <p:custDataLst>
                <p:tags r:id="rId20"/>
              </p:custDataLst>
            </p:nvPr>
          </p:nvSpPr>
          <p:spPr>
            <a:xfrm>
              <a:off x="6038062" y="5126987"/>
              <a:ext cx="609685" cy="324718"/>
            </a:xfrm>
            <a:custGeom>
              <a:avLst/>
              <a:gdLst>
                <a:gd name="connsiteX0" fmla="*/ 293671 w 607609"/>
                <a:gd name="connsiteY0" fmla="*/ 0 h 323613"/>
                <a:gd name="connsiteX1" fmla="*/ 455681 w 607609"/>
                <a:gd name="connsiteY1" fmla="*/ 0 h 323613"/>
                <a:gd name="connsiteX2" fmla="*/ 463069 w 607609"/>
                <a:gd name="connsiteY2" fmla="*/ 3200 h 323613"/>
                <a:gd name="connsiteX3" fmla="*/ 604872 w 607609"/>
                <a:gd name="connsiteY3" fmla="*/ 154918 h 323613"/>
                <a:gd name="connsiteX4" fmla="*/ 604872 w 607609"/>
                <a:gd name="connsiteY4" fmla="*/ 168695 h 323613"/>
                <a:gd name="connsiteX5" fmla="*/ 463069 w 607609"/>
                <a:gd name="connsiteY5" fmla="*/ 320413 h 323613"/>
                <a:gd name="connsiteX6" fmla="*/ 455681 w 607609"/>
                <a:gd name="connsiteY6" fmla="*/ 323613 h 323613"/>
                <a:gd name="connsiteX7" fmla="*/ 293671 w 607609"/>
                <a:gd name="connsiteY7" fmla="*/ 323613 h 323613"/>
                <a:gd name="connsiteX8" fmla="*/ 284324 w 607609"/>
                <a:gd name="connsiteY8" fmla="*/ 317391 h 323613"/>
                <a:gd name="connsiteX9" fmla="*/ 286461 w 607609"/>
                <a:gd name="connsiteY9" fmla="*/ 306370 h 323613"/>
                <a:gd name="connsiteX10" fmla="*/ 431201 w 607609"/>
                <a:gd name="connsiteY10" fmla="*/ 161762 h 323613"/>
                <a:gd name="connsiteX11" fmla="*/ 286461 w 607609"/>
                <a:gd name="connsiteY11" fmla="*/ 17243 h 323613"/>
                <a:gd name="connsiteX12" fmla="*/ 284324 w 607609"/>
                <a:gd name="connsiteY12" fmla="*/ 6222 h 323613"/>
                <a:gd name="connsiteX13" fmla="*/ 293671 w 607609"/>
                <a:gd name="connsiteY13" fmla="*/ 0 h 323613"/>
                <a:gd name="connsiteX14" fmla="*/ 10137 w 607609"/>
                <a:gd name="connsiteY14" fmla="*/ 0 h 323613"/>
                <a:gd name="connsiteX15" fmla="*/ 172112 w 607609"/>
                <a:gd name="connsiteY15" fmla="*/ 0 h 323613"/>
                <a:gd name="connsiteX16" fmla="*/ 179499 w 607609"/>
                <a:gd name="connsiteY16" fmla="*/ 3200 h 323613"/>
                <a:gd name="connsiteX17" fmla="*/ 321271 w 607609"/>
                <a:gd name="connsiteY17" fmla="*/ 154918 h 323613"/>
                <a:gd name="connsiteX18" fmla="*/ 321271 w 607609"/>
                <a:gd name="connsiteY18" fmla="*/ 168695 h 323613"/>
                <a:gd name="connsiteX19" fmla="*/ 179499 w 607609"/>
                <a:gd name="connsiteY19" fmla="*/ 320413 h 323613"/>
                <a:gd name="connsiteX20" fmla="*/ 172112 w 607609"/>
                <a:gd name="connsiteY20" fmla="*/ 323613 h 323613"/>
                <a:gd name="connsiteX21" fmla="*/ 10137 w 607609"/>
                <a:gd name="connsiteY21" fmla="*/ 323613 h 323613"/>
                <a:gd name="connsiteX22" fmla="*/ 792 w 607609"/>
                <a:gd name="connsiteY22" fmla="*/ 317391 h 323613"/>
                <a:gd name="connsiteX23" fmla="*/ 2928 w 607609"/>
                <a:gd name="connsiteY23" fmla="*/ 306370 h 323613"/>
                <a:gd name="connsiteX24" fmla="*/ 147727 w 607609"/>
                <a:gd name="connsiteY24" fmla="*/ 161762 h 323613"/>
                <a:gd name="connsiteX25" fmla="*/ 2928 w 607609"/>
                <a:gd name="connsiteY25" fmla="*/ 17243 h 323613"/>
                <a:gd name="connsiteX26" fmla="*/ 792 w 607609"/>
                <a:gd name="connsiteY26" fmla="*/ 6222 h 323613"/>
                <a:gd name="connsiteX27" fmla="*/ 10137 w 607609"/>
                <a:gd name="connsiteY27" fmla="*/ 0 h 32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7609" h="323613">
                  <a:moveTo>
                    <a:pt x="293671" y="0"/>
                  </a:moveTo>
                  <a:lnTo>
                    <a:pt x="455681" y="0"/>
                  </a:lnTo>
                  <a:cubicBezTo>
                    <a:pt x="458529" y="0"/>
                    <a:pt x="461200" y="1155"/>
                    <a:pt x="463069" y="3200"/>
                  </a:cubicBezTo>
                  <a:lnTo>
                    <a:pt x="604872" y="154918"/>
                  </a:lnTo>
                  <a:cubicBezTo>
                    <a:pt x="608522" y="158740"/>
                    <a:pt x="608522" y="164784"/>
                    <a:pt x="604872" y="168695"/>
                  </a:cubicBezTo>
                  <a:lnTo>
                    <a:pt x="463069" y="320413"/>
                  </a:lnTo>
                  <a:cubicBezTo>
                    <a:pt x="461200" y="322458"/>
                    <a:pt x="458529" y="323613"/>
                    <a:pt x="455681" y="323613"/>
                  </a:cubicBezTo>
                  <a:lnTo>
                    <a:pt x="293671" y="323613"/>
                  </a:lnTo>
                  <a:cubicBezTo>
                    <a:pt x="289576" y="323613"/>
                    <a:pt x="285838" y="321124"/>
                    <a:pt x="284324" y="317391"/>
                  </a:cubicBezTo>
                  <a:cubicBezTo>
                    <a:pt x="282722" y="313570"/>
                    <a:pt x="283612" y="309214"/>
                    <a:pt x="286461" y="306370"/>
                  </a:cubicBezTo>
                  <a:lnTo>
                    <a:pt x="431201" y="161762"/>
                  </a:lnTo>
                  <a:lnTo>
                    <a:pt x="286461" y="17243"/>
                  </a:lnTo>
                  <a:cubicBezTo>
                    <a:pt x="283612" y="14399"/>
                    <a:pt x="282722" y="10043"/>
                    <a:pt x="284324" y="6222"/>
                  </a:cubicBezTo>
                  <a:cubicBezTo>
                    <a:pt x="285838" y="2489"/>
                    <a:pt x="289576" y="0"/>
                    <a:pt x="293671" y="0"/>
                  </a:cubicBezTo>
                  <a:close/>
                  <a:moveTo>
                    <a:pt x="10137" y="0"/>
                  </a:moveTo>
                  <a:lnTo>
                    <a:pt x="172112" y="0"/>
                  </a:lnTo>
                  <a:cubicBezTo>
                    <a:pt x="174960" y="0"/>
                    <a:pt x="177630" y="1155"/>
                    <a:pt x="179499" y="3200"/>
                  </a:cubicBezTo>
                  <a:lnTo>
                    <a:pt x="321271" y="154918"/>
                  </a:lnTo>
                  <a:cubicBezTo>
                    <a:pt x="324920" y="158740"/>
                    <a:pt x="324920" y="164784"/>
                    <a:pt x="321271" y="168695"/>
                  </a:cubicBezTo>
                  <a:lnTo>
                    <a:pt x="179499" y="320413"/>
                  </a:lnTo>
                  <a:cubicBezTo>
                    <a:pt x="177630" y="322458"/>
                    <a:pt x="174960" y="323613"/>
                    <a:pt x="172112" y="323613"/>
                  </a:cubicBezTo>
                  <a:lnTo>
                    <a:pt x="10137" y="323613"/>
                  </a:lnTo>
                  <a:cubicBezTo>
                    <a:pt x="6043" y="323613"/>
                    <a:pt x="2305" y="321124"/>
                    <a:pt x="792" y="317391"/>
                  </a:cubicBezTo>
                  <a:cubicBezTo>
                    <a:pt x="-810" y="313570"/>
                    <a:pt x="80" y="309214"/>
                    <a:pt x="2928" y="306370"/>
                  </a:cubicBezTo>
                  <a:lnTo>
                    <a:pt x="147727" y="161762"/>
                  </a:lnTo>
                  <a:lnTo>
                    <a:pt x="2928" y="17243"/>
                  </a:lnTo>
                  <a:cubicBezTo>
                    <a:pt x="80" y="14399"/>
                    <a:pt x="-810" y="10043"/>
                    <a:pt x="792" y="6222"/>
                  </a:cubicBezTo>
                  <a:cubicBezTo>
                    <a:pt x="2305" y="2489"/>
                    <a:pt x="6043" y="0"/>
                    <a:pt x="10137" y="0"/>
                  </a:cubicBezTo>
                  <a:close/>
                </a:path>
              </a:pathLst>
            </a:cu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p:cNvSpPr/>
          <p:nvPr/>
        </p:nvSpPr>
        <p:spPr>
          <a:xfrm>
            <a:off x="660399" y="1130300"/>
            <a:ext cx="5696857" cy="6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r>
              <a:rPr kumimoji="1" lang="zh-CN" altLang="en-US" sz="2400" b="1" dirty="0">
                <a:solidFill>
                  <a:schemeClr val="tx1"/>
                </a:solidFill>
              </a:rPr>
              <a:t>请输入文本内容请输入文本内容</a:t>
            </a:r>
            <a:endParaRPr kumimoji="1" lang="zh-CN" altLang="en-US" sz="2400" b="1" dirty="0">
              <a:solidFill>
                <a:schemeClr val="tx1"/>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custDataLst>
              <p:tags r:id="rId1"/>
            </p:custDataLst>
          </p:nvPr>
        </p:nvGrpSpPr>
        <p:grpSpPr>
          <a:xfrm>
            <a:off x="660400" y="1371671"/>
            <a:ext cx="10858500" cy="4762429"/>
            <a:chOff x="660400" y="983906"/>
            <a:chExt cx="10858500" cy="4762429"/>
          </a:xfrm>
        </p:grpSpPr>
        <p:cxnSp>
          <p:nvCxnSpPr>
            <p:cNvPr id="4" name="î$ļiḍe"/>
            <p:cNvCxnSpPr>
              <a:endCxn id="23" idx="4"/>
            </p:cNvCxnSpPr>
            <p:nvPr>
              <p:custDataLst>
                <p:tags r:id="rId2"/>
              </p:custDataLst>
            </p:nvPr>
          </p:nvCxnSpPr>
          <p:spPr>
            <a:xfrm flipV="1">
              <a:off x="4743042" y="2726392"/>
              <a:ext cx="0" cy="1427966"/>
            </a:xfrm>
            <a:prstGeom prst="line">
              <a:avLst/>
            </a:prstGeom>
            <a:ln w="6350" cap="rnd">
              <a:solidFill>
                <a:schemeClr val="tx2">
                  <a:alpha val="50000"/>
                </a:schemeClr>
              </a:solidFill>
              <a:round/>
            </a:ln>
          </p:spPr>
          <p:style>
            <a:lnRef idx="1">
              <a:schemeClr val="accent1"/>
            </a:lnRef>
            <a:fillRef idx="0">
              <a:schemeClr val="accent1"/>
            </a:fillRef>
            <a:effectRef idx="0">
              <a:schemeClr val="accent1"/>
            </a:effectRef>
            <a:fontRef idx="minor">
              <a:schemeClr val="tx1"/>
            </a:fontRef>
          </p:style>
        </p:cxnSp>
        <p:cxnSp>
          <p:nvCxnSpPr>
            <p:cNvPr id="5" name="iş1îďè"/>
            <p:cNvCxnSpPr>
              <a:endCxn id="15" idx="4"/>
            </p:cNvCxnSpPr>
            <p:nvPr>
              <p:custDataLst>
                <p:tags r:id="rId3"/>
              </p:custDataLst>
            </p:nvPr>
          </p:nvCxnSpPr>
          <p:spPr>
            <a:xfrm flipH="1" flipV="1">
              <a:off x="10047780" y="3464353"/>
              <a:ext cx="9950" cy="690005"/>
            </a:xfrm>
            <a:prstGeom prst="line">
              <a:avLst/>
            </a:prstGeom>
            <a:ln w="6350" cap="rnd">
              <a:solidFill>
                <a:schemeClr val="tx2">
                  <a:alpha val="50000"/>
                </a:schemeClr>
              </a:solidFill>
              <a:round/>
            </a:ln>
          </p:spPr>
          <p:style>
            <a:lnRef idx="1">
              <a:schemeClr val="accent1"/>
            </a:lnRef>
            <a:fillRef idx="0">
              <a:schemeClr val="accent1"/>
            </a:fillRef>
            <a:effectRef idx="0">
              <a:schemeClr val="accent1"/>
            </a:effectRef>
            <a:fontRef idx="minor">
              <a:schemeClr val="tx1"/>
            </a:fontRef>
          </p:style>
        </p:cxnSp>
        <p:cxnSp>
          <p:nvCxnSpPr>
            <p:cNvPr id="6" name="ïšļídê"/>
            <p:cNvCxnSpPr>
              <a:endCxn id="19" idx="4"/>
            </p:cNvCxnSpPr>
            <p:nvPr>
              <p:custDataLst>
                <p:tags r:id="rId4"/>
              </p:custDataLst>
            </p:nvPr>
          </p:nvCxnSpPr>
          <p:spPr>
            <a:xfrm flipH="1" flipV="1">
              <a:off x="7395411" y="3464353"/>
              <a:ext cx="9950" cy="690005"/>
            </a:xfrm>
            <a:prstGeom prst="line">
              <a:avLst/>
            </a:prstGeom>
            <a:ln w="6350" cap="rnd">
              <a:solidFill>
                <a:schemeClr val="tx2">
                  <a:alpha val="50000"/>
                </a:schemeClr>
              </a:solidFill>
              <a:round/>
            </a:ln>
          </p:spPr>
          <p:style>
            <a:lnRef idx="1">
              <a:schemeClr val="accent1"/>
            </a:lnRef>
            <a:fillRef idx="0">
              <a:schemeClr val="accent1"/>
            </a:fillRef>
            <a:effectRef idx="0">
              <a:schemeClr val="accent1"/>
            </a:effectRef>
            <a:fontRef idx="minor">
              <a:schemeClr val="tx1"/>
            </a:fontRef>
          </p:style>
        </p:cxnSp>
        <p:cxnSp>
          <p:nvCxnSpPr>
            <p:cNvPr id="7" name="íṩlîḋè"/>
            <p:cNvCxnSpPr>
              <a:endCxn id="27" idx="4"/>
            </p:cNvCxnSpPr>
            <p:nvPr>
              <p:custDataLst>
                <p:tags r:id="rId5"/>
              </p:custDataLst>
            </p:nvPr>
          </p:nvCxnSpPr>
          <p:spPr>
            <a:xfrm flipH="1" flipV="1">
              <a:off x="2105720" y="3464353"/>
              <a:ext cx="4210" cy="690005"/>
            </a:xfrm>
            <a:prstGeom prst="line">
              <a:avLst/>
            </a:prstGeom>
            <a:ln w="6350" cap="rnd">
              <a:solidFill>
                <a:schemeClr val="tx2">
                  <a:alpha val="50000"/>
                </a:schemeClr>
              </a:solidFill>
              <a:round/>
            </a:ln>
          </p:spPr>
          <p:style>
            <a:lnRef idx="1">
              <a:schemeClr val="accent1"/>
            </a:lnRef>
            <a:fillRef idx="0">
              <a:schemeClr val="accent1"/>
            </a:fillRef>
            <a:effectRef idx="0">
              <a:schemeClr val="accent1"/>
            </a:effectRef>
            <a:fontRef idx="minor">
              <a:schemeClr val="tx1"/>
            </a:fontRef>
          </p:style>
        </p:cxnSp>
        <p:sp>
          <p:nvSpPr>
            <p:cNvPr id="8" name="Title"/>
            <p:cNvSpPr txBox="1"/>
            <p:nvPr/>
          </p:nvSpPr>
          <p:spPr>
            <a:xfrm>
              <a:off x="660400" y="983906"/>
              <a:ext cx="10858500" cy="732243"/>
            </a:xfrm>
            <a:prstGeom prst="rect">
              <a:avLst/>
            </a:prstGeom>
            <a:noFill/>
          </p:spPr>
          <p:txBody>
            <a:bodyPr vert="horz" wrap="square" rtlCol="0" anchor="t" anchorCtr="1">
              <a:normAutofit/>
            </a:bodyPr>
            <a:lstStyle/>
            <a:p>
              <a:pPr algn="ctr"/>
              <a:r>
                <a:rPr lang="zh-CN" altLang="en-US" sz="2400" b="1" dirty="0"/>
                <a:t>请输入文本内容请输入文本内容</a:t>
              </a:r>
              <a:endParaRPr lang="zh-CN" altLang="en-US" sz="2400" b="1" dirty="0"/>
            </a:p>
          </p:txBody>
        </p:sp>
        <p:grpSp>
          <p:nvGrpSpPr>
            <p:cNvPr id="9" name="组合 8"/>
            <p:cNvGrpSpPr/>
            <p:nvPr/>
          </p:nvGrpSpPr>
          <p:grpSpPr>
            <a:xfrm>
              <a:off x="853440" y="3054155"/>
              <a:ext cx="2543060" cy="2692180"/>
              <a:chOff x="853440" y="3054155"/>
              <a:chExt cx="2543060" cy="2692180"/>
            </a:xfrm>
          </p:grpSpPr>
          <p:sp>
            <p:nvSpPr>
              <p:cNvPr id="25" name="Bullet1"/>
              <p:cNvSpPr txBox="1"/>
              <p:nvPr>
                <p:custDataLst>
                  <p:tags r:id="rId6"/>
                </p:custDataLst>
              </p:nvPr>
            </p:nvSpPr>
            <p:spPr>
              <a:xfrm>
                <a:off x="853442" y="4366321"/>
                <a:ext cx="2543058" cy="690007"/>
              </a:xfrm>
              <a:prstGeom prst="rect">
                <a:avLst/>
              </a:prstGeom>
              <a:noFill/>
            </p:spPr>
            <p:txBody>
              <a:bodyPr wrap="square" rtlCol="0" anchor="b" anchorCtr="1">
                <a:normAutofit/>
              </a:bodyPr>
              <a:lstStyle/>
              <a:p>
                <a:pPr algn="ctr"/>
                <a:r>
                  <a:rPr lang="zh-CN" altLang="en-US" b="1"/>
                  <a:t>单击此处添加标题</a:t>
                </a:r>
                <a:endParaRPr lang="zh-CN" altLang="en-US" b="1"/>
              </a:p>
            </p:txBody>
          </p:sp>
          <p:sp>
            <p:nvSpPr>
              <p:cNvPr id="26" name="Text1"/>
              <p:cNvSpPr txBox="1"/>
              <p:nvPr>
                <p:custDataLst>
                  <p:tags r:id="rId7"/>
                </p:custDataLst>
              </p:nvPr>
            </p:nvSpPr>
            <p:spPr>
              <a:xfrm>
                <a:off x="853440" y="5056327"/>
                <a:ext cx="2543060" cy="690008"/>
              </a:xfrm>
              <a:prstGeom prst="rect">
                <a:avLst/>
              </a:prstGeom>
              <a:noFill/>
            </p:spPr>
            <p:txBody>
              <a:bodyPr wrap="square" rtlCol="0" anchor="t" anchorCtr="1">
                <a:normAutofit/>
              </a:bodyPr>
              <a:lstStyle>
                <a:defPPr>
                  <a:defRPr lang="zh-CN"/>
                </a:defPPr>
                <a:lvl1pPr>
                  <a:lnSpc>
                    <a:spcPts val="1500"/>
                  </a:lnSpc>
                  <a:defRPr sz="900"/>
                </a:lvl1pPr>
              </a:lstStyle>
              <a:p>
                <a:pPr algn="ctr">
                  <a:lnSpc>
                    <a:spcPct val="120000"/>
                  </a:lnSpc>
                </a:pPr>
                <a:r>
                  <a:rPr lang="zh-CN" altLang="en-US" sz="1200" dirty="0"/>
                  <a:t>请输入文本内容请输入文本内容</a:t>
                </a:r>
                <a:endParaRPr lang="zh-CN" altLang="en-US" sz="1200" dirty="0"/>
              </a:p>
            </p:txBody>
          </p:sp>
          <p:sp>
            <p:nvSpPr>
              <p:cNvPr id="27" name="IconBackground1"/>
              <p:cNvSpPr/>
              <p:nvPr>
                <p:custDataLst>
                  <p:tags r:id="rId8"/>
                </p:custDataLst>
              </p:nvPr>
            </p:nvSpPr>
            <p:spPr>
              <a:xfrm>
                <a:off x="1900620" y="3054155"/>
                <a:ext cx="410200" cy="410198"/>
              </a:xfrm>
              <a:prstGeom prst="ellipse">
                <a:avLst/>
              </a:pr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8" name="Icon1"/>
              <p:cNvSpPr/>
              <p:nvPr>
                <p:custDataLst>
                  <p:tags r:id="rId9"/>
                </p:custDataLst>
              </p:nvPr>
            </p:nvSpPr>
            <p:spPr>
              <a:xfrm>
                <a:off x="2016720" y="3192504"/>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10" name="组合 9"/>
            <p:cNvGrpSpPr/>
            <p:nvPr/>
          </p:nvGrpSpPr>
          <p:grpSpPr>
            <a:xfrm>
              <a:off x="3490762" y="2316194"/>
              <a:ext cx="2543060" cy="3430141"/>
              <a:chOff x="3490762" y="2316194"/>
              <a:chExt cx="2543060" cy="3430141"/>
            </a:xfrm>
          </p:grpSpPr>
          <p:sp>
            <p:nvSpPr>
              <p:cNvPr id="21" name="Bullet2"/>
              <p:cNvSpPr txBox="1"/>
              <p:nvPr>
                <p:custDataLst>
                  <p:tags r:id="rId10"/>
                </p:custDataLst>
              </p:nvPr>
            </p:nvSpPr>
            <p:spPr>
              <a:xfrm>
                <a:off x="3490764" y="4366321"/>
                <a:ext cx="2543058" cy="690007"/>
              </a:xfrm>
              <a:prstGeom prst="rect">
                <a:avLst/>
              </a:prstGeom>
              <a:noFill/>
            </p:spPr>
            <p:txBody>
              <a:bodyPr wrap="square" rtlCol="0" anchor="b" anchorCtr="1">
                <a:normAutofit/>
              </a:bodyPr>
              <a:lstStyle>
                <a:defPPr>
                  <a:defRPr lang="zh-CN"/>
                </a:defPPr>
                <a:lvl1pPr algn="ctr">
                  <a:defRPr sz="1400" b="1">
                    <a:gradFill>
                      <a:gsLst>
                        <a:gs pos="0">
                          <a:schemeClr val="accent2">
                            <a:lumMod val="60000"/>
                            <a:lumOff val="40000"/>
                          </a:schemeClr>
                        </a:gs>
                        <a:gs pos="60000">
                          <a:schemeClr val="accent2"/>
                        </a:gs>
                      </a:gsLst>
                      <a:lin ang="2700000" scaled="0"/>
                    </a:gradFill>
                  </a:defRPr>
                </a:lvl1pPr>
              </a:lstStyle>
              <a:p>
                <a:r>
                  <a:rPr lang="zh-CN" altLang="en-US" sz="1800" dirty="0">
                    <a:solidFill>
                      <a:schemeClr val="tx1"/>
                    </a:solidFill>
                  </a:rPr>
                  <a:t>单击此处添加标题</a:t>
                </a:r>
                <a:endParaRPr lang="zh-CN" altLang="en-US" sz="1800" dirty="0">
                  <a:solidFill>
                    <a:schemeClr val="tx1"/>
                  </a:solidFill>
                </a:endParaRPr>
              </a:p>
            </p:txBody>
          </p:sp>
          <p:sp>
            <p:nvSpPr>
              <p:cNvPr id="22" name="Text2"/>
              <p:cNvSpPr txBox="1"/>
              <p:nvPr>
                <p:custDataLst>
                  <p:tags r:id="rId11"/>
                </p:custDataLst>
              </p:nvPr>
            </p:nvSpPr>
            <p:spPr>
              <a:xfrm>
                <a:off x="3490762" y="5056327"/>
                <a:ext cx="2543060" cy="690008"/>
              </a:xfrm>
              <a:prstGeom prst="rect">
                <a:avLst/>
              </a:prstGeom>
              <a:noFill/>
            </p:spPr>
            <p:txBody>
              <a:bodyPr wrap="square" rtlCol="0" anchor="t" anchorCtr="1">
                <a:normAutofit/>
              </a:bodyPr>
              <a:lstStyle>
                <a:defPPr>
                  <a:defRPr lang="zh-CN"/>
                </a:defPPr>
                <a:lvl1pPr>
                  <a:lnSpc>
                    <a:spcPts val="1500"/>
                  </a:lnSpc>
                  <a:defRPr sz="900"/>
                </a:lvl1pPr>
              </a:lstStyle>
              <a:p>
                <a:pPr algn="ctr">
                  <a:lnSpc>
                    <a:spcPct val="120000"/>
                  </a:lnSpc>
                </a:pPr>
                <a:r>
                  <a:rPr lang="zh-CN" altLang="en-US" sz="1200"/>
                  <a:t>请输入文本内容请输入文本内容</a:t>
                </a:r>
                <a:endParaRPr lang="zh-CN" altLang="en-US" sz="1200"/>
              </a:p>
            </p:txBody>
          </p:sp>
          <p:sp>
            <p:nvSpPr>
              <p:cNvPr id="23" name="IconBackground2"/>
              <p:cNvSpPr/>
              <p:nvPr>
                <p:custDataLst>
                  <p:tags r:id="rId12"/>
                </p:custDataLst>
              </p:nvPr>
            </p:nvSpPr>
            <p:spPr>
              <a:xfrm>
                <a:off x="4537942" y="2316194"/>
                <a:ext cx="410200" cy="410198"/>
              </a:xfrm>
              <a:prstGeom prst="ellipse">
                <a:avLst/>
              </a:prstGeom>
              <a:solidFill>
                <a:schemeClr val="accent2"/>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4" name="Icon2"/>
              <p:cNvSpPr/>
              <p:nvPr>
                <p:custDataLst>
                  <p:tags r:id="rId13"/>
                </p:custDataLst>
              </p:nvPr>
            </p:nvSpPr>
            <p:spPr>
              <a:xfrm>
                <a:off x="4661849" y="2438642"/>
                <a:ext cx="162386"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3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11" name="组合 10"/>
            <p:cNvGrpSpPr/>
            <p:nvPr/>
          </p:nvGrpSpPr>
          <p:grpSpPr>
            <a:xfrm>
              <a:off x="6143131" y="3054155"/>
              <a:ext cx="2543060" cy="2692180"/>
              <a:chOff x="6143131" y="3054155"/>
              <a:chExt cx="2543060" cy="2692180"/>
            </a:xfrm>
          </p:grpSpPr>
          <p:sp>
            <p:nvSpPr>
              <p:cNvPr id="17" name="Bullet3"/>
              <p:cNvSpPr txBox="1"/>
              <p:nvPr>
                <p:custDataLst>
                  <p:tags r:id="rId14"/>
                </p:custDataLst>
              </p:nvPr>
            </p:nvSpPr>
            <p:spPr>
              <a:xfrm>
                <a:off x="6143133" y="4366321"/>
                <a:ext cx="2543058" cy="690007"/>
              </a:xfrm>
              <a:prstGeom prst="rect">
                <a:avLst/>
              </a:prstGeom>
              <a:noFill/>
            </p:spPr>
            <p:txBody>
              <a:bodyPr wrap="square" rtlCol="0" anchor="b" anchorCtr="1">
                <a:normAutofit/>
              </a:bodyPr>
              <a:lstStyle/>
              <a:p>
                <a:pPr algn="ctr"/>
                <a:r>
                  <a:rPr lang="zh-CN" altLang="en-US" b="1"/>
                  <a:t>单击此处添加标题</a:t>
                </a:r>
                <a:endParaRPr lang="zh-CN" altLang="en-US" b="1"/>
              </a:p>
            </p:txBody>
          </p:sp>
          <p:sp>
            <p:nvSpPr>
              <p:cNvPr id="18" name="Text3"/>
              <p:cNvSpPr txBox="1"/>
              <p:nvPr>
                <p:custDataLst>
                  <p:tags r:id="rId15"/>
                </p:custDataLst>
              </p:nvPr>
            </p:nvSpPr>
            <p:spPr>
              <a:xfrm>
                <a:off x="6143131" y="5056327"/>
                <a:ext cx="2543060" cy="690008"/>
              </a:xfrm>
              <a:prstGeom prst="rect">
                <a:avLst/>
              </a:prstGeom>
              <a:noFill/>
            </p:spPr>
            <p:txBody>
              <a:bodyPr wrap="square" rtlCol="0" anchor="t" anchorCtr="1">
                <a:normAutofit/>
              </a:bodyPr>
              <a:lstStyle>
                <a:defPPr>
                  <a:defRPr lang="zh-CN"/>
                </a:defPPr>
                <a:lvl1pPr>
                  <a:lnSpc>
                    <a:spcPts val="1500"/>
                  </a:lnSpc>
                  <a:defRPr sz="900"/>
                </a:lvl1pPr>
              </a:lstStyle>
              <a:p>
                <a:pPr algn="ctr">
                  <a:lnSpc>
                    <a:spcPct val="120000"/>
                  </a:lnSpc>
                </a:pPr>
                <a:r>
                  <a:rPr lang="zh-CN" altLang="en-US" sz="1200"/>
                  <a:t>请输入文本内容请输入文本内容</a:t>
                </a:r>
                <a:endParaRPr lang="zh-CN" altLang="en-US" sz="1200"/>
              </a:p>
            </p:txBody>
          </p:sp>
          <p:sp>
            <p:nvSpPr>
              <p:cNvPr id="19" name="IconBackground3"/>
              <p:cNvSpPr/>
              <p:nvPr>
                <p:custDataLst>
                  <p:tags r:id="rId16"/>
                </p:custDataLst>
              </p:nvPr>
            </p:nvSpPr>
            <p:spPr>
              <a:xfrm>
                <a:off x="7190311" y="3054155"/>
                <a:ext cx="410200" cy="410198"/>
              </a:xfrm>
              <a:prstGeom prst="ellipse">
                <a:avLst/>
              </a:pr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0" name="Icon3"/>
              <p:cNvSpPr/>
              <p:nvPr>
                <p:custDataLst>
                  <p:tags r:id="rId17"/>
                </p:custDataLst>
              </p:nvPr>
            </p:nvSpPr>
            <p:spPr>
              <a:xfrm>
                <a:off x="7306411" y="3188334"/>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12" name="组合 11"/>
            <p:cNvGrpSpPr/>
            <p:nvPr/>
          </p:nvGrpSpPr>
          <p:grpSpPr>
            <a:xfrm>
              <a:off x="8795500" y="3054155"/>
              <a:ext cx="2543060" cy="2692180"/>
              <a:chOff x="8795500" y="3054155"/>
              <a:chExt cx="2543060" cy="2692180"/>
            </a:xfrm>
          </p:grpSpPr>
          <p:sp>
            <p:nvSpPr>
              <p:cNvPr id="13" name="Bullet4"/>
              <p:cNvSpPr txBox="1"/>
              <p:nvPr>
                <p:custDataLst>
                  <p:tags r:id="rId18"/>
                </p:custDataLst>
              </p:nvPr>
            </p:nvSpPr>
            <p:spPr>
              <a:xfrm>
                <a:off x="8795502" y="4366321"/>
                <a:ext cx="2543058" cy="690007"/>
              </a:xfrm>
              <a:prstGeom prst="rect">
                <a:avLst/>
              </a:prstGeom>
              <a:noFill/>
            </p:spPr>
            <p:txBody>
              <a:bodyPr wrap="square" rtlCol="0" anchor="b" anchorCtr="1">
                <a:normAutofit/>
              </a:bodyPr>
              <a:lstStyle/>
              <a:p>
                <a:pPr algn="ctr"/>
                <a:r>
                  <a:rPr b="1"/>
                  <a:t>单击此处添加标题</a:t>
                </a:r>
                <a:endParaRPr b="1"/>
              </a:p>
            </p:txBody>
          </p:sp>
          <p:sp>
            <p:nvSpPr>
              <p:cNvPr id="14" name="Text4"/>
              <p:cNvSpPr txBox="1"/>
              <p:nvPr>
                <p:custDataLst>
                  <p:tags r:id="rId19"/>
                </p:custDataLst>
              </p:nvPr>
            </p:nvSpPr>
            <p:spPr>
              <a:xfrm>
                <a:off x="8795500" y="5056327"/>
                <a:ext cx="2543060" cy="690008"/>
              </a:xfrm>
              <a:prstGeom prst="rect">
                <a:avLst/>
              </a:prstGeom>
              <a:noFill/>
            </p:spPr>
            <p:txBody>
              <a:bodyPr wrap="square" rtlCol="0" anchor="t" anchorCtr="1">
                <a:normAutofit/>
              </a:bodyPr>
              <a:lstStyle>
                <a:defPPr>
                  <a:defRPr lang="zh-CN"/>
                </a:defPPr>
                <a:lvl1pPr>
                  <a:lnSpc>
                    <a:spcPts val="1500"/>
                  </a:lnSpc>
                  <a:defRPr sz="900"/>
                </a:lvl1pPr>
              </a:lstStyle>
              <a:p>
                <a:pPr algn="ctr">
                  <a:lnSpc>
                    <a:spcPct val="120000"/>
                  </a:lnSpc>
                </a:pPr>
                <a:r>
                  <a:rPr lang="zh-CN" altLang="en-US" sz="1200"/>
                  <a:t>请输入文本内容请输入文本内容</a:t>
                </a:r>
                <a:endParaRPr lang="zh-CN" altLang="en-US" sz="1200"/>
              </a:p>
            </p:txBody>
          </p:sp>
          <p:sp>
            <p:nvSpPr>
              <p:cNvPr id="15" name="IconBackground4"/>
              <p:cNvSpPr/>
              <p:nvPr>
                <p:custDataLst>
                  <p:tags r:id="rId20"/>
                </p:custDataLst>
              </p:nvPr>
            </p:nvSpPr>
            <p:spPr>
              <a:xfrm>
                <a:off x="9842680" y="3054155"/>
                <a:ext cx="410200" cy="410198"/>
              </a:xfrm>
              <a:prstGeom prst="ellipse">
                <a:avLst/>
              </a:prstGeom>
              <a:solidFill>
                <a:schemeClr val="accent2"/>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16" name="Icon4"/>
              <p:cNvSpPr/>
              <p:nvPr>
                <p:custDataLst>
                  <p:tags r:id="rId21"/>
                </p:custDataLst>
              </p:nvPr>
            </p:nvSpPr>
            <p:spPr>
              <a:xfrm>
                <a:off x="9958780" y="3194733"/>
                <a:ext cx="178001" cy="141741"/>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sp>
        <p:nvSpPr>
          <p:cNvPr id="2" name="标题 1"/>
          <p:cNvSpPr>
            <a:spLocks noGrp="1"/>
          </p:cNvSpPr>
          <p:nvPr>
            <p:ph type="title"/>
          </p:nvPr>
        </p:nvSpPr>
        <p:spPr/>
        <p:txBody>
          <a:bodyPr/>
          <a:lstStyle/>
          <a:p>
            <a:r>
              <a:t>单击此处添加标题</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custDataLst>
              <p:tags r:id="rId1"/>
            </p:custDataLst>
          </p:nvPr>
        </p:nvGrpSpPr>
        <p:grpSpPr>
          <a:xfrm>
            <a:off x="793750" y="1130300"/>
            <a:ext cx="10604499" cy="4597400"/>
            <a:chOff x="793750" y="1130300"/>
            <a:chExt cx="10604499" cy="4597400"/>
          </a:xfrm>
        </p:grpSpPr>
        <p:sp>
          <p:nvSpPr>
            <p:cNvPr id="4" name="Title"/>
            <p:cNvSpPr/>
            <p:nvPr/>
          </p:nvSpPr>
          <p:spPr>
            <a:xfrm>
              <a:off x="1955800" y="1130300"/>
              <a:ext cx="8280400" cy="698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zh-CN" altLang="en-US" sz="2400" b="1">
                  <a:solidFill>
                    <a:schemeClr val="tx1"/>
                  </a:solidFill>
                </a:rPr>
                <a:t>请输入文本内容请输入文本内容</a:t>
              </a:r>
              <a:endParaRPr lang="zh-CN" altLang="en-US" sz="2400" b="1">
                <a:solidFill>
                  <a:schemeClr val="tx1"/>
                </a:solidFill>
              </a:endParaRPr>
            </a:p>
          </p:txBody>
        </p:sp>
        <p:sp>
          <p:nvSpPr>
            <p:cNvPr id="5" name="箭头"/>
            <p:cNvSpPr/>
            <p:nvPr/>
          </p:nvSpPr>
          <p:spPr>
            <a:xfrm>
              <a:off x="793750" y="2636819"/>
              <a:ext cx="10604499" cy="444788"/>
            </a:xfrm>
            <a:prstGeom prst="homePlate">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endParaRPr kumimoji="1" lang="en-US" altLang="zh-CN"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 name="组合 5"/>
            <p:cNvGrpSpPr/>
            <p:nvPr/>
          </p:nvGrpSpPr>
          <p:grpSpPr>
            <a:xfrm>
              <a:off x="793750" y="2955285"/>
              <a:ext cx="3101975" cy="2772415"/>
              <a:chOff x="793750" y="2955285"/>
              <a:chExt cx="3101975" cy="2772415"/>
            </a:xfrm>
          </p:grpSpPr>
          <p:sp>
            <p:nvSpPr>
              <p:cNvPr id="15" name="Text1"/>
              <p:cNvSpPr/>
              <p:nvPr>
                <p:custDataLst>
                  <p:tags r:id="rId2"/>
                </p:custDataLst>
              </p:nvPr>
            </p:nvSpPr>
            <p:spPr>
              <a:xfrm>
                <a:off x="793750" y="3302000"/>
                <a:ext cx="3101975" cy="2425700"/>
              </a:xfrm>
              <a:prstGeom prst="roundRect">
                <a:avLst>
                  <a:gd name="adj" fmla="val 6356"/>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682920" rIns="91440" bIns="0" rtlCol="0" anchor="ctr" anchorCtr="0">
                <a:normAutofit/>
              </a:bodyPr>
              <a:lstStyle/>
              <a:p>
                <a:pPr algn="ctr">
                  <a:lnSpc>
                    <a:spcPct val="120000"/>
                  </a:lnSpc>
                </a:pPr>
                <a:r>
                  <a:rPr kumimoji="1" lang="zh-CN" altLang="en-US" sz="1200">
                    <a:solidFill>
                      <a:schemeClr val="tx1"/>
                    </a:solidFill>
                    <a:sym typeface="Arial" panose="020B0604020202020204" pitchFamily="34" charset="0"/>
                  </a:rPr>
                  <a:t>请输入文本内容请输入文本内容请输入文本内容请输入文本内容请输入文本内容请输入文本内容</a:t>
                </a:r>
                <a:endParaRPr kumimoji="1" lang="zh-CN" altLang="en-US" sz="1200">
                  <a:solidFill>
                    <a:schemeClr val="tx1"/>
                  </a:solidFill>
                  <a:sym typeface="Arial" panose="020B0604020202020204" pitchFamily="34" charset="0"/>
                </a:endParaRPr>
              </a:p>
            </p:txBody>
          </p:sp>
          <p:sp>
            <p:nvSpPr>
              <p:cNvPr id="16" name="Bullet1"/>
              <p:cNvSpPr/>
              <p:nvPr>
                <p:custDataLst>
                  <p:tags r:id="rId3"/>
                </p:custDataLst>
              </p:nvPr>
            </p:nvSpPr>
            <p:spPr>
              <a:xfrm>
                <a:off x="1293761" y="3920862"/>
                <a:ext cx="2101951" cy="473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a:solidFill>
                      <a:schemeClr val="tx1"/>
                    </a:solidFill>
                  </a:rPr>
                  <a:t>单击此处添加标题</a:t>
                </a:r>
                <a:endParaRPr kumimoji="1" lang="zh-CN" altLang="en-US" b="1">
                  <a:solidFill>
                    <a:schemeClr val="tx1"/>
                  </a:solidFill>
                </a:endParaRPr>
              </a:p>
            </p:txBody>
          </p:sp>
          <p:sp>
            <p:nvSpPr>
              <p:cNvPr id="17" name="Number1"/>
              <p:cNvSpPr/>
              <p:nvPr>
                <p:custDataLst>
                  <p:tags r:id="rId4"/>
                </p:custDataLst>
              </p:nvPr>
            </p:nvSpPr>
            <p:spPr>
              <a:xfrm>
                <a:off x="2046289" y="2955285"/>
                <a:ext cx="596899" cy="599184"/>
              </a:xfrm>
              <a:prstGeom prst="roundRect">
                <a:avLst/>
              </a:pr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en-US" altLang="zh-CN" sz="2000" b="1" dirty="0">
                    <a:solidFill>
                      <a:srgbClr val="FFFFFF"/>
                    </a:solidFill>
                  </a:rPr>
                  <a:t>01</a:t>
                </a:r>
                <a:endParaRPr lang="zh-CN" altLang="en-US" sz="2000" b="1" dirty="0">
                  <a:solidFill>
                    <a:srgbClr val="FFFFFF"/>
                  </a:solidFill>
                </a:endParaRPr>
              </a:p>
            </p:txBody>
          </p:sp>
        </p:grpSp>
        <p:grpSp>
          <p:nvGrpSpPr>
            <p:cNvPr id="7" name="组合 6"/>
            <p:cNvGrpSpPr/>
            <p:nvPr/>
          </p:nvGrpSpPr>
          <p:grpSpPr>
            <a:xfrm>
              <a:off x="4473601" y="2955285"/>
              <a:ext cx="3101975" cy="2772415"/>
              <a:chOff x="4473601" y="2955285"/>
              <a:chExt cx="3101975" cy="2772415"/>
            </a:xfrm>
          </p:grpSpPr>
          <p:sp>
            <p:nvSpPr>
              <p:cNvPr id="12" name="Text2"/>
              <p:cNvSpPr/>
              <p:nvPr>
                <p:custDataLst>
                  <p:tags r:id="rId5"/>
                </p:custDataLst>
              </p:nvPr>
            </p:nvSpPr>
            <p:spPr>
              <a:xfrm>
                <a:off x="4473601" y="3302000"/>
                <a:ext cx="3101975" cy="2425700"/>
              </a:xfrm>
              <a:prstGeom prst="roundRect">
                <a:avLst>
                  <a:gd name="adj" fmla="val 6356"/>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682920" rIns="91440" bIns="0" rtlCol="0" anchor="ctr" anchorCtr="0">
                <a:normAutofit/>
              </a:bodyPr>
              <a:lstStyle/>
              <a:p>
                <a:pPr algn="ctr">
                  <a:lnSpc>
                    <a:spcPct val="120000"/>
                  </a:lnSpc>
                </a:pPr>
                <a:r>
                  <a:rPr kumimoji="1" lang="zh-CN" altLang="en-US" sz="1200">
                    <a:solidFill>
                      <a:schemeClr val="tx1"/>
                    </a:solidFill>
                    <a:sym typeface="Arial" panose="020B0604020202020204" pitchFamily="34" charset="0"/>
                  </a:rPr>
                  <a:t>请输入文本内容请输入文本内容请输入文本内容请输入文本内容请输入文本内容请输入文本内容</a:t>
                </a:r>
                <a:endParaRPr kumimoji="1" lang="en-US" altLang="zh-CN" sz="1200" dirty="0">
                  <a:solidFill>
                    <a:schemeClr val="tx1"/>
                  </a:solidFill>
                  <a:sym typeface="Arial" panose="020B0604020202020204" pitchFamily="34" charset="0"/>
                </a:endParaRPr>
              </a:p>
            </p:txBody>
          </p:sp>
          <p:sp>
            <p:nvSpPr>
              <p:cNvPr id="13" name="Bullet2"/>
              <p:cNvSpPr/>
              <p:nvPr>
                <p:custDataLst>
                  <p:tags r:id="rId6"/>
                </p:custDataLst>
              </p:nvPr>
            </p:nvSpPr>
            <p:spPr>
              <a:xfrm>
                <a:off x="4973612" y="3920862"/>
                <a:ext cx="2101951" cy="473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a:solidFill>
                      <a:schemeClr val="tx1"/>
                    </a:solidFill>
                  </a:rPr>
                  <a:t>单击此处添加标题</a:t>
                </a:r>
                <a:endParaRPr kumimoji="1" lang="zh-CN" altLang="en-US" b="1">
                  <a:solidFill>
                    <a:schemeClr val="tx1"/>
                  </a:solidFill>
                </a:endParaRPr>
              </a:p>
            </p:txBody>
          </p:sp>
          <p:sp>
            <p:nvSpPr>
              <p:cNvPr id="14" name="Number2"/>
              <p:cNvSpPr/>
              <p:nvPr>
                <p:custDataLst>
                  <p:tags r:id="rId7"/>
                </p:custDataLst>
              </p:nvPr>
            </p:nvSpPr>
            <p:spPr>
              <a:xfrm>
                <a:off x="5726140" y="2955285"/>
                <a:ext cx="596899" cy="599184"/>
              </a:xfrm>
              <a:prstGeom prst="roundRect">
                <a:avLst/>
              </a:prstGeom>
              <a:solidFill>
                <a:schemeClr val="accent2"/>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en-US" altLang="zh-CN" sz="2000" b="1" dirty="0">
                    <a:solidFill>
                      <a:srgbClr val="FFFFFF"/>
                    </a:solidFill>
                  </a:rPr>
                  <a:t>02</a:t>
                </a:r>
                <a:endParaRPr lang="zh-CN" altLang="en-US" sz="2000" b="1" dirty="0">
                  <a:solidFill>
                    <a:srgbClr val="FFFFFF"/>
                  </a:solidFill>
                </a:endParaRPr>
              </a:p>
            </p:txBody>
          </p:sp>
        </p:grpSp>
        <p:grpSp>
          <p:nvGrpSpPr>
            <p:cNvPr id="8" name="组合 7"/>
            <p:cNvGrpSpPr/>
            <p:nvPr/>
          </p:nvGrpSpPr>
          <p:grpSpPr>
            <a:xfrm>
              <a:off x="8153451" y="2955285"/>
              <a:ext cx="3101975" cy="2772415"/>
              <a:chOff x="8153451" y="2955285"/>
              <a:chExt cx="3101975" cy="2772415"/>
            </a:xfrm>
          </p:grpSpPr>
          <p:sp>
            <p:nvSpPr>
              <p:cNvPr id="9" name="Text3"/>
              <p:cNvSpPr/>
              <p:nvPr>
                <p:custDataLst>
                  <p:tags r:id="rId8"/>
                </p:custDataLst>
              </p:nvPr>
            </p:nvSpPr>
            <p:spPr>
              <a:xfrm>
                <a:off x="8153451" y="3302000"/>
                <a:ext cx="3101975" cy="2425700"/>
              </a:xfrm>
              <a:prstGeom prst="roundRect">
                <a:avLst>
                  <a:gd name="adj" fmla="val 6356"/>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682920" rIns="91440" bIns="0" rtlCol="0" anchor="ctr" anchorCtr="0">
                <a:normAutofit/>
              </a:bodyPr>
              <a:lstStyle/>
              <a:p>
                <a:pPr algn="ctr">
                  <a:lnSpc>
                    <a:spcPct val="120000"/>
                  </a:lnSpc>
                </a:pPr>
                <a:r>
                  <a:rPr kumimoji="1" lang="zh-CN" altLang="en-US" sz="1200">
                    <a:solidFill>
                      <a:schemeClr val="tx1"/>
                    </a:solidFill>
                    <a:sym typeface="Arial" panose="020B0604020202020204" pitchFamily="34" charset="0"/>
                  </a:rPr>
                  <a:t>请输入文本内容请输入文本内容请输入文本内容请输入文本内容请输入文本内容请输入文本内容</a:t>
                </a:r>
                <a:endParaRPr kumimoji="1" lang="en-US" altLang="zh-CN" sz="1200" dirty="0">
                  <a:solidFill>
                    <a:schemeClr val="tx1"/>
                  </a:solidFill>
                  <a:sym typeface="Arial" panose="020B0604020202020204" pitchFamily="34" charset="0"/>
                </a:endParaRPr>
              </a:p>
            </p:txBody>
          </p:sp>
          <p:sp>
            <p:nvSpPr>
              <p:cNvPr id="10" name="Bullet3"/>
              <p:cNvSpPr/>
              <p:nvPr>
                <p:custDataLst>
                  <p:tags r:id="rId9"/>
                </p:custDataLst>
              </p:nvPr>
            </p:nvSpPr>
            <p:spPr>
              <a:xfrm>
                <a:off x="8653462" y="3920862"/>
                <a:ext cx="2101951" cy="473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a:solidFill>
                      <a:schemeClr val="tx1"/>
                    </a:solidFill>
                  </a:rPr>
                  <a:t>单击此处添加标题</a:t>
                </a:r>
                <a:endParaRPr kumimoji="1" lang="zh-CN" altLang="en-US" b="1">
                  <a:solidFill>
                    <a:schemeClr val="tx1"/>
                  </a:solidFill>
                </a:endParaRPr>
              </a:p>
            </p:txBody>
          </p:sp>
          <p:sp>
            <p:nvSpPr>
              <p:cNvPr id="11" name="Number3"/>
              <p:cNvSpPr/>
              <p:nvPr>
                <p:custDataLst>
                  <p:tags r:id="rId10"/>
                </p:custDataLst>
              </p:nvPr>
            </p:nvSpPr>
            <p:spPr>
              <a:xfrm>
                <a:off x="9405990" y="2955285"/>
                <a:ext cx="596899" cy="599184"/>
              </a:xfrm>
              <a:prstGeom prst="roundRect">
                <a:avLst/>
              </a:pr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en-US" altLang="zh-CN" sz="2000" b="1" dirty="0">
                    <a:solidFill>
                      <a:srgbClr val="FFFFFF"/>
                    </a:solidFill>
                  </a:rPr>
                  <a:t>03</a:t>
                </a:r>
                <a:endParaRPr lang="zh-CN" altLang="en-US" sz="2000" b="1" dirty="0">
                  <a:solidFill>
                    <a:srgbClr val="FFFFFF"/>
                  </a:solidFill>
                </a:endParaRPr>
              </a:p>
            </p:txBody>
          </p:sp>
        </p:grpSp>
      </p:grpSp>
      <p:sp>
        <p:nvSpPr>
          <p:cNvPr id="2" name="标题 1"/>
          <p:cNvSpPr>
            <a:spLocks noGrp="1"/>
          </p:cNvSpPr>
          <p:nvPr>
            <p:ph type="title"/>
          </p:nvPr>
        </p:nvSpPr>
        <p:spPr/>
        <p:txBody>
          <a:bodyPr/>
          <a:lstStyle/>
          <a:p>
            <a:r>
              <a:t>单击此处添加标题</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custDataLst>
              <p:tags r:id="rId1"/>
            </p:custDataLst>
          </p:nvPr>
        </p:nvGrpSpPr>
        <p:grpSpPr>
          <a:xfrm>
            <a:off x="660400" y="1130300"/>
            <a:ext cx="10871200" cy="4404687"/>
            <a:chOff x="660400" y="1130300"/>
            <a:chExt cx="10871200" cy="4404687"/>
          </a:xfrm>
        </p:grpSpPr>
        <p:sp>
          <p:nvSpPr>
            <p:cNvPr id="4" name="îṧľïḋê"/>
            <p:cNvSpPr/>
            <p:nvPr>
              <p:custDataLst>
                <p:tags r:id="rId2"/>
              </p:custDataLst>
            </p:nvPr>
          </p:nvSpPr>
          <p:spPr>
            <a:xfrm>
              <a:off x="6681221" y="3950814"/>
              <a:ext cx="4850379" cy="1584172"/>
            </a:xfrm>
            <a:prstGeom prst="roundRect">
              <a:avLst>
                <a:gd name="adj" fmla="val 3000"/>
              </a:avLst>
            </a:prstGeom>
            <a:solidFill>
              <a:schemeClr val="tx2">
                <a:alpha val="10000"/>
              </a:schemeClr>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cs typeface="+mn-ea"/>
                <a:sym typeface="+mn-lt"/>
              </a:endParaRPr>
            </a:p>
          </p:txBody>
        </p:sp>
        <p:sp>
          <p:nvSpPr>
            <p:cNvPr id="5" name="ísḻïḑé"/>
            <p:cNvSpPr/>
            <p:nvPr>
              <p:custDataLst>
                <p:tags r:id="rId3"/>
              </p:custDataLst>
            </p:nvPr>
          </p:nvSpPr>
          <p:spPr>
            <a:xfrm>
              <a:off x="660400" y="3950814"/>
              <a:ext cx="4850379" cy="1584172"/>
            </a:xfrm>
            <a:prstGeom prst="roundRect">
              <a:avLst>
                <a:gd name="adj" fmla="val 3000"/>
              </a:avLst>
            </a:prstGeom>
            <a:solidFill>
              <a:schemeClr val="tx2">
                <a:alpha val="10000"/>
              </a:schemeClr>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cs typeface="+mn-ea"/>
                <a:sym typeface="+mn-lt"/>
              </a:endParaRPr>
            </a:p>
          </p:txBody>
        </p:sp>
        <p:sp>
          <p:nvSpPr>
            <p:cNvPr id="6" name="ïṧľíḓè"/>
            <p:cNvSpPr/>
            <p:nvPr>
              <p:custDataLst>
                <p:tags r:id="rId4"/>
              </p:custDataLst>
            </p:nvPr>
          </p:nvSpPr>
          <p:spPr>
            <a:xfrm>
              <a:off x="6681221" y="2134714"/>
              <a:ext cx="4850379" cy="1584172"/>
            </a:xfrm>
            <a:prstGeom prst="roundRect">
              <a:avLst>
                <a:gd name="adj" fmla="val 3000"/>
              </a:avLst>
            </a:prstGeom>
            <a:solidFill>
              <a:schemeClr val="tx2">
                <a:alpha val="10000"/>
              </a:schemeClr>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cs typeface="+mn-ea"/>
                <a:sym typeface="+mn-lt"/>
              </a:endParaRPr>
            </a:p>
          </p:txBody>
        </p:sp>
        <p:sp>
          <p:nvSpPr>
            <p:cNvPr id="7" name="ïṩḻíḋè"/>
            <p:cNvSpPr/>
            <p:nvPr>
              <p:custDataLst>
                <p:tags r:id="rId5"/>
              </p:custDataLst>
            </p:nvPr>
          </p:nvSpPr>
          <p:spPr>
            <a:xfrm>
              <a:off x="660400" y="2134714"/>
              <a:ext cx="4850379" cy="1584172"/>
            </a:xfrm>
            <a:prstGeom prst="roundRect">
              <a:avLst>
                <a:gd name="adj" fmla="val 3000"/>
              </a:avLst>
            </a:prstGeom>
            <a:solidFill>
              <a:schemeClr val="tx2">
                <a:alpha val="10000"/>
              </a:schemeClr>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cs typeface="+mn-ea"/>
                <a:sym typeface="+mn-lt"/>
              </a:endParaRPr>
            </a:p>
          </p:txBody>
        </p:sp>
        <p:sp>
          <p:nvSpPr>
            <p:cNvPr id="8" name="íşḻïḋe"/>
            <p:cNvSpPr/>
            <p:nvPr>
              <p:custDataLst>
                <p:tags r:id="rId6"/>
              </p:custDataLst>
            </p:nvPr>
          </p:nvSpPr>
          <p:spPr>
            <a:xfrm>
              <a:off x="4395793" y="2134717"/>
              <a:ext cx="1612932" cy="1612932"/>
            </a:xfrm>
            <a:custGeom>
              <a:avLst/>
              <a:gdLst>
                <a:gd name="connsiteX0" fmla="*/ 1057072 w 1057072"/>
                <a:gd name="connsiteY0" fmla="*/ 483572 h 1057072"/>
                <a:gd name="connsiteX1" fmla="*/ 1057072 w 1057072"/>
                <a:gd name="connsiteY1" fmla="*/ 82665 h 1057072"/>
                <a:gd name="connsiteX2" fmla="*/ 963537 w 1057072"/>
                <a:gd name="connsiteY2" fmla="*/ 750 h 1057072"/>
                <a:gd name="connsiteX3" fmla="*/ 750 w 1057072"/>
                <a:gd name="connsiteY3" fmla="*/ 963537 h 1057072"/>
                <a:gd name="connsiteX4" fmla="*/ 82665 w 1057072"/>
                <a:gd name="connsiteY4" fmla="*/ 1057072 h 1057072"/>
                <a:gd name="connsiteX5" fmla="*/ 483667 w 1057072"/>
                <a:gd name="connsiteY5" fmla="*/ 1057072 h 1057072"/>
                <a:gd name="connsiteX6" fmla="*/ 564153 w 1057072"/>
                <a:gd name="connsiteY6" fmla="*/ 992778 h 1057072"/>
                <a:gd name="connsiteX7" fmla="*/ 992874 w 1057072"/>
                <a:gd name="connsiteY7" fmla="*/ 564058 h 1057072"/>
                <a:gd name="connsiteX8" fmla="*/ 1057072 w 1057072"/>
                <a:gd name="connsiteY8" fmla="*/ 483572 h 105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072" h="1057072">
                  <a:moveTo>
                    <a:pt x="1057072" y="483572"/>
                  </a:moveTo>
                  <a:lnTo>
                    <a:pt x="1057072" y="82665"/>
                  </a:lnTo>
                  <a:cubicBezTo>
                    <a:pt x="1057072" y="32754"/>
                    <a:pt x="1013067" y="-5918"/>
                    <a:pt x="963537" y="750"/>
                  </a:cubicBezTo>
                  <a:cubicBezTo>
                    <a:pt x="463569" y="67710"/>
                    <a:pt x="67710" y="463569"/>
                    <a:pt x="750" y="963537"/>
                  </a:cubicBezTo>
                  <a:cubicBezTo>
                    <a:pt x="-5918" y="1013067"/>
                    <a:pt x="32754" y="1057072"/>
                    <a:pt x="82665" y="1057072"/>
                  </a:cubicBezTo>
                  <a:lnTo>
                    <a:pt x="483667" y="1057072"/>
                  </a:lnTo>
                  <a:cubicBezTo>
                    <a:pt x="522243" y="1057072"/>
                    <a:pt x="555867" y="1030402"/>
                    <a:pt x="564153" y="992778"/>
                  </a:cubicBezTo>
                  <a:cubicBezTo>
                    <a:pt x="611112" y="779133"/>
                    <a:pt x="779228" y="610921"/>
                    <a:pt x="992874" y="564058"/>
                  </a:cubicBezTo>
                  <a:cubicBezTo>
                    <a:pt x="1030402" y="555771"/>
                    <a:pt x="1057072" y="522148"/>
                    <a:pt x="1057072" y="483572"/>
                  </a:cubicBezTo>
                  <a:close/>
                </a:path>
              </a:pathLst>
            </a:cu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zh-CN" altLang="en-US" sz="1400" b="1">
                <a:solidFill>
                  <a:srgbClr val="FFFFFF"/>
                </a:solidFill>
                <a:cs typeface="+mn-ea"/>
                <a:sym typeface="+mn-lt"/>
              </a:endParaRPr>
            </a:p>
          </p:txBody>
        </p:sp>
        <p:sp>
          <p:nvSpPr>
            <p:cNvPr id="9" name="ïŝḷîḍé"/>
            <p:cNvSpPr/>
            <p:nvPr>
              <p:custDataLst>
                <p:tags r:id="rId7"/>
              </p:custDataLst>
            </p:nvPr>
          </p:nvSpPr>
          <p:spPr>
            <a:xfrm>
              <a:off x="4395793" y="3922054"/>
              <a:ext cx="1612932" cy="1612933"/>
            </a:xfrm>
            <a:custGeom>
              <a:avLst/>
              <a:gdLst>
                <a:gd name="connsiteX0" fmla="*/ 1057072 w 1057072"/>
                <a:gd name="connsiteY0" fmla="*/ 974407 h 1057073"/>
                <a:gd name="connsiteX1" fmla="*/ 1057072 w 1057072"/>
                <a:gd name="connsiteY1" fmla="*/ 573500 h 1057073"/>
                <a:gd name="connsiteX2" fmla="*/ 992778 w 1057072"/>
                <a:gd name="connsiteY2" fmla="*/ 493014 h 1057073"/>
                <a:gd name="connsiteX3" fmla="*/ 564058 w 1057072"/>
                <a:gd name="connsiteY3" fmla="*/ 64294 h 1057073"/>
                <a:gd name="connsiteX4" fmla="*/ 483572 w 1057072"/>
                <a:gd name="connsiteY4" fmla="*/ 0 h 1057073"/>
                <a:gd name="connsiteX5" fmla="*/ 82665 w 1057072"/>
                <a:gd name="connsiteY5" fmla="*/ 0 h 1057073"/>
                <a:gd name="connsiteX6" fmla="*/ 750 w 1057072"/>
                <a:gd name="connsiteY6" fmla="*/ 93536 h 1057073"/>
                <a:gd name="connsiteX7" fmla="*/ 963537 w 1057072"/>
                <a:gd name="connsiteY7" fmla="*/ 1056323 h 1057073"/>
                <a:gd name="connsiteX8" fmla="*/ 1057072 w 1057072"/>
                <a:gd name="connsiteY8" fmla="*/ 974407 h 1057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072" h="1057073">
                  <a:moveTo>
                    <a:pt x="1057072" y="974407"/>
                  </a:moveTo>
                  <a:lnTo>
                    <a:pt x="1057072" y="573500"/>
                  </a:lnTo>
                  <a:cubicBezTo>
                    <a:pt x="1057072" y="534924"/>
                    <a:pt x="1030402" y="501301"/>
                    <a:pt x="992778" y="493014"/>
                  </a:cubicBezTo>
                  <a:cubicBezTo>
                    <a:pt x="779133" y="446056"/>
                    <a:pt x="611016" y="277844"/>
                    <a:pt x="564058" y="64294"/>
                  </a:cubicBezTo>
                  <a:cubicBezTo>
                    <a:pt x="555771" y="26670"/>
                    <a:pt x="522148" y="0"/>
                    <a:pt x="483572" y="0"/>
                  </a:cubicBezTo>
                  <a:lnTo>
                    <a:pt x="82665" y="0"/>
                  </a:lnTo>
                  <a:cubicBezTo>
                    <a:pt x="32754" y="0"/>
                    <a:pt x="-5918" y="44005"/>
                    <a:pt x="750" y="93536"/>
                  </a:cubicBezTo>
                  <a:cubicBezTo>
                    <a:pt x="67806" y="593503"/>
                    <a:pt x="463569" y="989362"/>
                    <a:pt x="963537" y="1056323"/>
                  </a:cubicBezTo>
                  <a:cubicBezTo>
                    <a:pt x="1013067" y="1062990"/>
                    <a:pt x="1057072" y="1024414"/>
                    <a:pt x="1057072" y="974407"/>
                  </a:cubicBezTo>
                  <a:close/>
                </a:path>
              </a:pathLst>
            </a:custGeom>
            <a:solidFill>
              <a:schemeClr val="accent3"/>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zh-CN" altLang="en-US" sz="1400" b="1">
                <a:solidFill>
                  <a:srgbClr val="FFFFFF"/>
                </a:solidFill>
                <a:cs typeface="+mn-ea"/>
                <a:sym typeface="+mn-lt"/>
              </a:endParaRPr>
            </a:p>
          </p:txBody>
        </p:sp>
        <p:sp>
          <p:nvSpPr>
            <p:cNvPr id="10" name="ïṣľiḓé"/>
            <p:cNvSpPr/>
            <p:nvPr>
              <p:custDataLst>
                <p:tags r:id="rId8"/>
              </p:custDataLst>
            </p:nvPr>
          </p:nvSpPr>
          <p:spPr>
            <a:xfrm>
              <a:off x="6183129" y="3922054"/>
              <a:ext cx="1612932" cy="1612932"/>
            </a:xfrm>
            <a:custGeom>
              <a:avLst/>
              <a:gdLst>
                <a:gd name="connsiteX0" fmla="*/ 0 w 1057072"/>
                <a:gd name="connsiteY0" fmla="*/ 573500 h 1057072"/>
                <a:gd name="connsiteX1" fmla="*/ 0 w 1057072"/>
                <a:gd name="connsiteY1" fmla="*/ 974407 h 1057072"/>
                <a:gd name="connsiteX2" fmla="*/ 93536 w 1057072"/>
                <a:gd name="connsiteY2" fmla="*/ 1056323 h 1057072"/>
                <a:gd name="connsiteX3" fmla="*/ 1056323 w 1057072"/>
                <a:gd name="connsiteY3" fmla="*/ 93536 h 1057072"/>
                <a:gd name="connsiteX4" fmla="*/ 974407 w 1057072"/>
                <a:gd name="connsiteY4" fmla="*/ 0 h 1057072"/>
                <a:gd name="connsiteX5" fmla="*/ 573405 w 1057072"/>
                <a:gd name="connsiteY5" fmla="*/ 0 h 1057072"/>
                <a:gd name="connsiteX6" fmla="*/ 492919 w 1057072"/>
                <a:gd name="connsiteY6" fmla="*/ 64294 h 1057072"/>
                <a:gd name="connsiteX7" fmla="*/ 64198 w 1057072"/>
                <a:gd name="connsiteY7" fmla="*/ 493014 h 1057072"/>
                <a:gd name="connsiteX8" fmla="*/ 0 w 1057072"/>
                <a:gd name="connsiteY8" fmla="*/ 573500 h 105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072" h="1057072">
                  <a:moveTo>
                    <a:pt x="0" y="573500"/>
                  </a:moveTo>
                  <a:lnTo>
                    <a:pt x="0" y="974407"/>
                  </a:lnTo>
                  <a:cubicBezTo>
                    <a:pt x="0" y="1024319"/>
                    <a:pt x="44005" y="1062990"/>
                    <a:pt x="93536" y="1056323"/>
                  </a:cubicBezTo>
                  <a:cubicBezTo>
                    <a:pt x="593503" y="989266"/>
                    <a:pt x="989362" y="593503"/>
                    <a:pt x="1056323" y="93536"/>
                  </a:cubicBezTo>
                  <a:cubicBezTo>
                    <a:pt x="1062990" y="44005"/>
                    <a:pt x="1024319" y="0"/>
                    <a:pt x="974407" y="0"/>
                  </a:cubicBezTo>
                  <a:lnTo>
                    <a:pt x="573405" y="0"/>
                  </a:lnTo>
                  <a:cubicBezTo>
                    <a:pt x="534829" y="0"/>
                    <a:pt x="501206" y="26670"/>
                    <a:pt x="492919" y="64294"/>
                  </a:cubicBezTo>
                  <a:cubicBezTo>
                    <a:pt x="445961" y="277940"/>
                    <a:pt x="277844" y="446151"/>
                    <a:pt x="64198" y="493014"/>
                  </a:cubicBezTo>
                  <a:cubicBezTo>
                    <a:pt x="26670" y="501301"/>
                    <a:pt x="0" y="534924"/>
                    <a:pt x="0" y="573500"/>
                  </a:cubicBezTo>
                  <a:close/>
                </a:path>
              </a:pathLst>
            </a:custGeom>
            <a:solidFill>
              <a:schemeClr val="accent2"/>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zh-CN" altLang="en-US" sz="1400" b="1">
                <a:solidFill>
                  <a:srgbClr val="FFFFFF"/>
                </a:solidFill>
                <a:cs typeface="+mn-ea"/>
                <a:sym typeface="+mn-lt"/>
              </a:endParaRPr>
            </a:p>
          </p:txBody>
        </p:sp>
        <p:sp>
          <p:nvSpPr>
            <p:cNvPr id="11" name="îŝ1iḍe"/>
            <p:cNvSpPr/>
            <p:nvPr>
              <p:custDataLst>
                <p:tags r:id="rId9"/>
              </p:custDataLst>
            </p:nvPr>
          </p:nvSpPr>
          <p:spPr>
            <a:xfrm>
              <a:off x="6183129" y="2134714"/>
              <a:ext cx="1613077" cy="1612933"/>
            </a:xfrm>
            <a:custGeom>
              <a:avLst/>
              <a:gdLst>
                <a:gd name="connsiteX0" fmla="*/ 0 w 1057167"/>
                <a:gd name="connsiteY0" fmla="*/ 82666 h 1057073"/>
                <a:gd name="connsiteX1" fmla="*/ 0 w 1057167"/>
                <a:gd name="connsiteY1" fmla="*/ 483573 h 1057073"/>
                <a:gd name="connsiteX2" fmla="*/ 64294 w 1057167"/>
                <a:gd name="connsiteY2" fmla="*/ 564060 h 1057073"/>
                <a:gd name="connsiteX3" fmla="*/ 493014 w 1057167"/>
                <a:gd name="connsiteY3" fmla="*/ 992780 h 1057073"/>
                <a:gd name="connsiteX4" fmla="*/ 573500 w 1057167"/>
                <a:gd name="connsiteY4" fmla="*/ 1057074 h 1057073"/>
                <a:gd name="connsiteX5" fmla="*/ 974503 w 1057167"/>
                <a:gd name="connsiteY5" fmla="*/ 1057074 h 1057073"/>
                <a:gd name="connsiteX6" fmla="*/ 1056418 w 1057167"/>
                <a:gd name="connsiteY6" fmla="*/ 963538 h 1057073"/>
                <a:gd name="connsiteX7" fmla="*/ 93536 w 1057167"/>
                <a:gd name="connsiteY7" fmla="*/ 751 h 1057073"/>
                <a:gd name="connsiteX8" fmla="*/ 0 w 1057167"/>
                <a:gd name="connsiteY8" fmla="*/ 82666 h 1057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167" h="1057073">
                  <a:moveTo>
                    <a:pt x="0" y="82666"/>
                  </a:moveTo>
                  <a:lnTo>
                    <a:pt x="0" y="483573"/>
                  </a:lnTo>
                  <a:cubicBezTo>
                    <a:pt x="0" y="522150"/>
                    <a:pt x="26670" y="555773"/>
                    <a:pt x="64294" y="564060"/>
                  </a:cubicBezTo>
                  <a:cubicBezTo>
                    <a:pt x="277940" y="611018"/>
                    <a:pt x="446056" y="779229"/>
                    <a:pt x="493014" y="992780"/>
                  </a:cubicBezTo>
                  <a:cubicBezTo>
                    <a:pt x="501301" y="1030404"/>
                    <a:pt x="534924" y="1057074"/>
                    <a:pt x="573500" y="1057074"/>
                  </a:cubicBezTo>
                  <a:lnTo>
                    <a:pt x="974503" y="1057074"/>
                  </a:lnTo>
                  <a:cubicBezTo>
                    <a:pt x="1024414" y="1057074"/>
                    <a:pt x="1063085" y="1013068"/>
                    <a:pt x="1056418" y="963538"/>
                  </a:cubicBezTo>
                  <a:cubicBezTo>
                    <a:pt x="989362" y="463571"/>
                    <a:pt x="593503" y="67712"/>
                    <a:pt x="93536" y="751"/>
                  </a:cubicBezTo>
                  <a:cubicBezTo>
                    <a:pt x="44005" y="-5916"/>
                    <a:pt x="0" y="32660"/>
                    <a:pt x="0" y="82666"/>
                  </a:cubicBezTo>
                  <a:close/>
                </a:path>
              </a:pathLst>
            </a:custGeom>
            <a:solidFill>
              <a:schemeClr val="accent3"/>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zh-CN" altLang="en-US" sz="1400" b="1">
                <a:solidFill>
                  <a:srgbClr val="FFFFFF"/>
                </a:solidFill>
                <a:cs typeface="+mn-ea"/>
                <a:sym typeface="+mn-lt"/>
              </a:endParaRPr>
            </a:p>
          </p:txBody>
        </p:sp>
        <p:sp>
          <p:nvSpPr>
            <p:cNvPr id="12" name="Title"/>
            <p:cNvSpPr txBox="1"/>
            <p:nvPr/>
          </p:nvSpPr>
          <p:spPr>
            <a:xfrm>
              <a:off x="660400" y="1130300"/>
              <a:ext cx="10858500" cy="461665"/>
            </a:xfrm>
            <a:prstGeom prst="rect">
              <a:avLst/>
            </a:prstGeom>
            <a:noFill/>
          </p:spPr>
          <p:txBody>
            <a:bodyPr vert="horz" wrap="square" rtlCol="0" anchor="t" anchorCtr="1">
              <a:normAutofit fontScale="90000"/>
            </a:bodyPr>
            <a:lstStyle/>
            <a:p>
              <a:pPr algn="ctr"/>
              <a:r>
                <a:rPr lang="zh-CN" altLang="en-US" sz="2400" b="1"/>
                <a:t>请输入文本内容请输入文本内容</a:t>
              </a:r>
              <a:endParaRPr lang="zh-CN" altLang="en-US" sz="2400" b="1"/>
            </a:p>
          </p:txBody>
        </p:sp>
        <p:grpSp>
          <p:nvGrpSpPr>
            <p:cNvPr id="13" name="组合 12"/>
            <p:cNvGrpSpPr/>
            <p:nvPr/>
          </p:nvGrpSpPr>
          <p:grpSpPr>
            <a:xfrm>
              <a:off x="978183" y="2266044"/>
              <a:ext cx="4371168" cy="1452842"/>
              <a:chOff x="978183" y="2494646"/>
              <a:chExt cx="4371168" cy="1452842"/>
            </a:xfrm>
          </p:grpSpPr>
          <p:sp>
            <p:nvSpPr>
              <p:cNvPr id="29" name="Icon1"/>
              <p:cNvSpPr/>
              <p:nvPr>
                <p:custDataLst>
                  <p:tags r:id="rId10"/>
                </p:custDataLst>
              </p:nvPr>
            </p:nvSpPr>
            <p:spPr>
              <a:xfrm>
                <a:off x="5055167" y="3059467"/>
                <a:ext cx="294184" cy="220637"/>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4400"/>
                <a:endParaRPr lang="zh-CN" altLang="en-US" sz="2000" b="1" dirty="0">
                  <a:solidFill>
                    <a:srgbClr val="FFFFFF"/>
                  </a:solidFill>
                  <a:cs typeface="+mn-ea"/>
                  <a:sym typeface="+mn-lt"/>
                </a:endParaRPr>
              </a:p>
            </p:txBody>
          </p:sp>
          <p:grpSp>
            <p:nvGrpSpPr>
              <p:cNvPr id="30" name="组合 29"/>
              <p:cNvGrpSpPr/>
              <p:nvPr/>
            </p:nvGrpSpPr>
            <p:grpSpPr>
              <a:xfrm>
                <a:off x="978183" y="2494646"/>
                <a:ext cx="3417610" cy="1452842"/>
                <a:chOff x="978183" y="2494646"/>
                <a:chExt cx="3417610" cy="1452842"/>
              </a:xfrm>
            </p:grpSpPr>
            <p:sp>
              <p:nvSpPr>
                <p:cNvPr id="31" name="Text1"/>
                <p:cNvSpPr txBox="1"/>
                <p:nvPr>
                  <p:custDataLst>
                    <p:tags r:id="rId11"/>
                  </p:custDataLst>
                </p:nvPr>
              </p:nvSpPr>
              <p:spPr>
                <a:xfrm>
                  <a:off x="978183" y="3059467"/>
                  <a:ext cx="3417610" cy="888021"/>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1200">
                      <a:cs typeface="+mn-ea"/>
                      <a:sym typeface="+mn-lt"/>
                    </a:rPr>
                    <a:t>请输入文本内容请输入文本内容请输入文本内容请输入文本内容</a:t>
                  </a:r>
                  <a:endParaRPr lang="zh-CN" altLang="en-US" sz="1200">
                    <a:cs typeface="+mn-ea"/>
                    <a:sym typeface="+mn-lt"/>
                  </a:endParaRPr>
                </a:p>
              </p:txBody>
            </p:sp>
            <p:sp>
              <p:nvSpPr>
                <p:cNvPr id="32" name="Bullet1"/>
                <p:cNvSpPr/>
                <p:nvPr>
                  <p:custDataLst>
                    <p:tags r:id="rId12"/>
                  </p:custDataLst>
                </p:nvPr>
              </p:nvSpPr>
              <p:spPr>
                <a:xfrm>
                  <a:off x="978183" y="2494646"/>
                  <a:ext cx="3417610" cy="564821"/>
                </a:xfrm>
                <a:prstGeom prst="rect">
                  <a:avLst/>
                </a:prstGeom>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b="1">
                      <a:cs typeface="+mn-ea"/>
                      <a:sym typeface="+mn-lt"/>
                    </a:rPr>
                    <a:t>单击此处添加标题</a:t>
                  </a:r>
                  <a:endParaRPr b="1">
                    <a:cs typeface="+mn-ea"/>
                    <a:sym typeface="+mn-lt"/>
                  </a:endParaRPr>
                </a:p>
              </p:txBody>
            </p:sp>
          </p:grpSp>
        </p:grpSp>
        <p:grpSp>
          <p:nvGrpSpPr>
            <p:cNvPr id="14" name="组合 13"/>
            <p:cNvGrpSpPr/>
            <p:nvPr/>
          </p:nvGrpSpPr>
          <p:grpSpPr>
            <a:xfrm>
              <a:off x="976073" y="4082144"/>
              <a:ext cx="4373278" cy="1452842"/>
              <a:chOff x="976073" y="4310746"/>
              <a:chExt cx="4373278" cy="1452842"/>
            </a:xfrm>
          </p:grpSpPr>
          <p:sp>
            <p:nvSpPr>
              <p:cNvPr id="25" name="Icon2"/>
              <p:cNvSpPr/>
              <p:nvPr>
                <p:custDataLst>
                  <p:tags r:id="rId13"/>
                </p:custDataLst>
              </p:nvPr>
            </p:nvSpPr>
            <p:spPr>
              <a:xfrm>
                <a:off x="5055167" y="4834666"/>
                <a:ext cx="294184" cy="244912"/>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4400"/>
                <a:endParaRPr lang="zh-CN" altLang="en-US" sz="2000" b="1" dirty="0">
                  <a:solidFill>
                    <a:srgbClr val="FFFFFF"/>
                  </a:solidFill>
                  <a:cs typeface="+mn-ea"/>
                  <a:sym typeface="+mn-lt"/>
                </a:endParaRPr>
              </a:p>
            </p:txBody>
          </p:sp>
          <p:grpSp>
            <p:nvGrpSpPr>
              <p:cNvPr id="26" name="组合 25"/>
              <p:cNvGrpSpPr/>
              <p:nvPr/>
            </p:nvGrpSpPr>
            <p:grpSpPr>
              <a:xfrm>
                <a:off x="976073" y="4310746"/>
                <a:ext cx="3417610" cy="1452842"/>
                <a:chOff x="976073" y="4310746"/>
                <a:chExt cx="3417610" cy="1452842"/>
              </a:xfrm>
            </p:grpSpPr>
            <p:sp>
              <p:nvSpPr>
                <p:cNvPr id="27" name="Text2"/>
                <p:cNvSpPr txBox="1"/>
                <p:nvPr>
                  <p:custDataLst>
                    <p:tags r:id="rId14"/>
                  </p:custDataLst>
                </p:nvPr>
              </p:nvSpPr>
              <p:spPr>
                <a:xfrm>
                  <a:off x="976073" y="4875567"/>
                  <a:ext cx="3417610" cy="888021"/>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1200">
                      <a:cs typeface="+mn-ea"/>
                      <a:sym typeface="+mn-lt"/>
                    </a:rPr>
                    <a:t>请输入文本内容请输入文本内容请输入文本内容请输入文本内容</a:t>
                  </a:r>
                  <a:endParaRPr lang="zh-CN" altLang="en-US" sz="1200">
                    <a:cs typeface="+mn-ea"/>
                    <a:sym typeface="+mn-lt"/>
                  </a:endParaRPr>
                </a:p>
              </p:txBody>
            </p:sp>
            <p:sp>
              <p:nvSpPr>
                <p:cNvPr id="28" name="Bullet2"/>
                <p:cNvSpPr/>
                <p:nvPr>
                  <p:custDataLst>
                    <p:tags r:id="rId15"/>
                  </p:custDataLst>
                </p:nvPr>
              </p:nvSpPr>
              <p:spPr>
                <a:xfrm>
                  <a:off x="976073" y="4310746"/>
                  <a:ext cx="3417610" cy="564821"/>
                </a:xfrm>
                <a:prstGeom prst="rect">
                  <a:avLst/>
                </a:prstGeom>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b="1">
                      <a:cs typeface="+mn-ea"/>
                      <a:sym typeface="+mn-lt"/>
                    </a:rPr>
                    <a:t>单击此处添加标题</a:t>
                  </a:r>
                  <a:endParaRPr b="1">
                    <a:cs typeface="+mn-ea"/>
                    <a:sym typeface="+mn-lt"/>
                  </a:endParaRPr>
                </a:p>
              </p:txBody>
            </p:sp>
          </p:grpSp>
        </p:grpSp>
        <p:grpSp>
          <p:nvGrpSpPr>
            <p:cNvPr id="15" name="组合 14"/>
            <p:cNvGrpSpPr/>
            <p:nvPr/>
          </p:nvGrpSpPr>
          <p:grpSpPr>
            <a:xfrm>
              <a:off x="6855479" y="2266044"/>
              <a:ext cx="4358192" cy="1452842"/>
              <a:chOff x="6855479" y="2494646"/>
              <a:chExt cx="4358192" cy="1452842"/>
            </a:xfrm>
          </p:grpSpPr>
          <p:sp>
            <p:nvSpPr>
              <p:cNvPr id="21" name="Icon3"/>
              <p:cNvSpPr/>
              <p:nvPr>
                <p:custDataLst>
                  <p:tags r:id="rId16"/>
                </p:custDataLst>
              </p:nvPr>
            </p:nvSpPr>
            <p:spPr>
              <a:xfrm>
                <a:off x="6855479" y="3022690"/>
                <a:ext cx="268377" cy="294184"/>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4400"/>
                <a:endParaRPr lang="zh-CN" altLang="en-US" sz="2000" b="1" dirty="0">
                  <a:solidFill>
                    <a:srgbClr val="FFFFFF"/>
                  </a:solidFill>
                  <a:cs typeface="+mn-ea"/>
                  <a:sym typeface="+mn-lt"/>
                </a:endParaRPr>
              </a:p>
            </p:txBody>
          </p:sp>
          <p:grpSp>
            <p:nvGrpSpPr>
              <p:cNvPr id="22" name="组合 21"/>
              <p:cNvGrpSpPr/>
              <p:nvPr/>
            </p:nvGrpSpPr>
            <p:grpSpPr>
              <a:xfrm>
                <a:off x="7796061" y="2494646"/>
                <a:ext cx="3417610" cy="1452842"/>
                <a:chOff x="7796061" y="2494646"/>
                <a:chExt cx="3417610" cy="1452842"/>
              </a:xfrm>
            </p:grpSpPr>
            <p:sp>
              <p:nvSpPr>
                <p:cNvPr id="23" name="Text3"/>
                <p:cNvSpPr txBox="1"/>
                <p:nvPr>
                  <p:custDataLst>
                    <p:tags r:id="rId17"/>
                  </p:custDataLst>
                </p:nvPr>
              </p:nvSpPr>
              <p:spPr>
                <a:xfrm>
                  <a:off x="7796061" y="3059467"/>
                  <a:ext cx="3417610" cy="888021"/>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zh-CN" altLang="en-US" sz="1200">
                      <a:cs typeface="+mn-ea"/>
                      <a:sym typeface="+mn-lt"/>
                    </a:rPr>
                    <a:t>请输入文本内容请输入文本内容请输入文本内容请输入文本内容</a:t>
                  </a:r>
                  <a:endParaRPr lang="zh-CN" altLang="en-US" sz="1200">
                    <a:cs typeface="+mn-ea"/>
                    <a:sym typeface="+mn-lt"/>
                  </a:endParaRPr>
                </a:p>
              </p:txBody>
            </p:sp>
            <p:sp>
              <p:nvSpPr>
                <p:cNvPr id="24" name="Bullet3"/>
                <p:cNvSpPr/>
                <p:nvPr>
                  <p:custDataLst>
                    <p:tags r:id="rId18"/>
                  </p:custDataLst>
                </p:nvPr>
              </p:nvSpPr>
              <p:spPr>
                <a:xfrm>
                  <a:off x="7796061" y="2494646"/>
                  <a:ext cx="3417610" cy="564821"/>
                </a:xfrm>
                <a:prstGeom prst="rect">
                  <a:avLst/>
                </a:prstGeom>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r>
                    <a:rPr b="1">
                      <a:cs typeface="+mn-ea"/>
                      <a:sym typeface="+mn-lt"/>
                    </a:rPr>
                    <a:t>单击此处添加标题</a:t>
                  </a:r>
                  <a:endParaRPr b="1">
                    <a:cs typeface="+mn-ea"/>
                    <a:sym typeface="+mn-lt"/>
                  </a:endParaRPr>
                </a:p>
              </p:txBody>
            </p:sp>
          </p:grpSp>
        </p:grpSp>
        <p:grpSp>
          <p:nvGrpSpPr>
            <p:cNvPr id="16" name="组合 15"/>
            <p:cNvGrpSpPr/>
            <p:nvPr/>
          </p:nvGrpSpPr>
          <p:grpSpPr>
            <a:xfrm>
              <a:off x="6842503" y="4082144"/>
              <a:ext cx="4382696" cy="1452842"/>
              <a:chOff x="6842503" y="4310746"/>
              <a:chExt cx="4382696" cy="1452842"/>
            </a:xfrm>
          </p:grpSpPr>
          <p:sp>
            <p:nvSpPr>
              <p:cNvPr id="17" name="Icon4"/>
              <p:cNvSpPr/>
              <p:nvPr>
                <p:custDataLst>
                  <p:tags r:id="rId19"/>
                </p:custDataLst>
              </p:nvPr>
            </p:nvSpPr>
            <p:spPr>
              <a:xfrm>
                <a:off x="6842503" y="4839994"/>
                <a:ext cx="294184" cy="234257"/>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4400"/>
                <a:endParaRPr lang="zh-CN" altLang="en-US" sz="2000" b="1" dirty="0">
                  <a:solidFill>
                    <a:srgbClr val="FFFFFF"/>
                  </a:solidFill>
                  <a:cs typeface="+mn-ea"/>
                  <a:sym typeface="+mn-lt"/>
                </a:endParaRPr>
              </a:p>
            </p:txBody>
          </p:sp>
          <p:grpSp>
            <p:nvGrpSpPr>
              <p:cNvPr id="18" name="组合 17"/>
              <p:cNvGrpSpPr/>
              <p:nvPr/>
            </p:nvGrpSpPr>
            <p:grpSpPr>
              <a:xfrm>
                <a:off x="7807589" y="4310746"/>
                <a:ext cx="3417610" cy="1452842"/>
                <a:chOff x="7807589" y="4310746"/>
                <a:chExt cx="3417610" cy="1452842"/>
              </a:xfrm>
            </p:grpSpPr>
            <p:sp>
              <p:nvSpPr>
                <p:cNvPr id="19" name="Text4"/>
                <p:cNvSpPr txBox="1"/>
                <p:nvPr>
                  <p:custDataLst>
                    <p:tags r:id="rId20"/>
                  </p:custDataLst>
                </p:nvPr>
              </p:nvSpPr>
              <p:spPr>
                <a:xfrm>
                  <a:off x="7807589" y="4875567"/>
                  <a:ext cx="3417610" cy="888021"/>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zh-CN" altLang="en-US" sz="1200">
                      <a:cs typeface="+mn-ea"/>
                      <a:sym typeface="+mn-lt"/>
                    </a:rPr>
                    <a:t>请输入文本内容请输入文本内容请输入文本内容请输入文本内容</a:t>
                  </a:r>
                  <a:endParaRPr lang="zh-CN" altLang="en-US" sz="1200">
                    <a:cs typeface="+mn-ea"/>
                    <a:sym typeface="+mn-lt"/>
                  </a:endParaRPr>
                </a:p>
              </p:txBody>
            </p:sp>
            <p:sp>
              <p:nvSpPr>
                <p:cNvPr id="20" name="Bullet4"/>
                <p:cNvSpPr/>
                <p:nvPr>
                  <p:custDataLst>
                    <p:tags r:id="rId21"/>
                  </p:custDataLst>
                </p:nvPr>
              </p:nvSpPr>
              <p:spPr>
                <a:xfrm>
                  <a:off x="7807589" y="4310746"/>
                  <a:ext cx="3417610" cy="564821"/>
                </a:xfrm>
                <a:prstGeom prst="rect">
                  <a:avLst/>
                </a:prstGeom>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r>
                    <a:rPr b="1">
                      <a:cs typeface="+mn-ea"/>
                      <a:sym typeface="+mn-lt"/>
                    </a:rPr>
                    <a:t>单击此处添加标题</a:t>
                  </a:r>
                  <a:endParaRPr b="1">
                    <a:cs typeface="+mn-ea"/>
                    <a:sym typeface="+mn-lt"/>
                  </a:endParaRPr>
                </a:p>
              </p:txBody>
            </p:sp>
          </p:grpSp>
        </p:grpSp>
      </p:grpSp>
      <p:sp>
        <p:nvSpPr>
          <p:cNvPr id="2" name="标题 1"/>
          <p:cNvSpPr>
            <a:spLocks noGrp="1"/>
          </p:cNvSpPr>
          <p:nvPr>
            <p:ph type="title"/>
          </p:nvPr>
        </p:nvSpPr>
        <p:spPr/>
        <p:txBody>
          <a:bodyPr/>
          <a:lstStyle/>
          <a:p>
            <a:r>
              <a:t>单击此处添加标题</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Misc"/>
          <p:cNvSpPr/>
          <p:nvPr/>
        </p:nvSpPr>
        <p:spPr>
          <a:xfrm>
            <a:off x="660400" y="1910443"/>
            <a:ext cx="3944257" cy="4223657"/>
          </a:xfrm>
          <a:prstGeom prst="roundRect">
            <a:avLst>
              <a:gd name="adj" fmla="val 8000"/>
            </a:avLst>
          </a:prstGeom>
          <a:blipFill>
            <a:blip r:embed="rId1">
              <a:extLst>
                <a:ext uri="{28A0092B-C50C-407E-A947-70E740481C1C}">
                  <a14:useLocalDpi xmlns:a14="http://schemas.microsoft.com/office/drawing/2010/main" val="0"/>
                </a:ext>
              </a:extLst>
            </a:blip>
            <a:stretch>
              <a:fillRect t="-24490" b="-21772"/>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cs typeface="+mn-ea"/>
              <a:sym typeface="+mn-lt"/>
            </a:endParaRPr>
          </a:p>
        </p:txBody>
      </p:sp>
      <p:sp>
        <p:nvSpPr>
          <p:cNvPr id="5" name="Title"/>
          <p:cNvSpPr txBox="1"/>
          <p:nvPr/>
        </p:nvSpPr>
        <p:spPr>
          <a:xfrm>
            <a:off x="660400" y="1130300"/>
            <a:ext cx="10858500" cy="625929"/>
          </a:xfrm>
          <a:prstGeom prst="rect">
            <a:avLst/>
          </a:prstGeom>
          <a:noFill/>
        </p:spPr>
        <p:txBody>
          <a:bodyPr vert="horz" wrap="square" rtlCol="0" anchor="t" anchorCtr="0">
            <a:normAutofit/>
          </a:bodyPr>
          <a:lstStyle/>
          <a:p>
            <a:pPr algn="ctr"/>
            <a:r>
              <a:rPr lang="zh-CN" altLang="en-US" sz="2400" b="1">
                <a:cs typeface="+mn-ea"/>
                <a:sym typeface="+mn-lt"/>
              </a:rPr>
              <a:t>请输入文本内容请输入文本内容</a:t>
            </a:r>
            <a:endParaRPr lang="zh-CN" altLang="en-US" sz="2400" b="1">
              <a:cs typeface="+mn-ea"/>
              <a:sym typeface="+mn-lt"/>
            </a:endParaRPr>
          </a:p>
        </p:txBody>
      </p:sp>
      <p:sp>
        <p:nvSpPr>
          <p:cNvPr id="6" name="任意多边形: 形状 5"/>
          <p:cNvSpPr/>
          <p:nvPr/>
        </p:nvSpPr>
        <p:spPr>
          <a:xfrm>
            <a:off x="1" y="1"/>
            <a:ext cx="1465943" cy="1465943"/>
          </a:xfrm>
          <a:custGeom>
            <a:avLst/>
            <a:gdLst>
              <a:gd name="connsiteX0" fmla="*/ 667658 w 1465943"/>
              <a:gd name="connsiteY0" fmla="*/ 0 h 1465943"/>
              <a:gd name="connsiteX1" fmla="*/ 1465943 w 1465943"/>
              <a:gd name="connsiteY1" fmla="*/ 0 h 1465943"/>
              <a:gd name="connsiteX2" fmla="*/ 0 w 1465943"/>
              <a:gd name="connsiteY2" fmla="*/ 1465943 h 1465943"/>
              <a:gd name="connsiteX3" fmla="*/ 0 w 1465943"/>
              <a:gd name="connsiteY3" fmla="*/ 667658 h 1465943"/>
              <a:gd name="connsiteX4" fmla="*/ 667658 w 1465943"/>
              <a:gd name="connsiteY4" fmla="*/ 0 h 146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43" h="1465943">
                <a:moveTo>
                  <a:pt x="667658" y="0"/>
                </a:moveTo>
                <a:lnTo>
                  <a:pt x="1465943" y="0"/>
                </a:lnTo>
                <a:cubicBezTo>
                  <a:pt x="1465943" y="809618"/>
                  <a:pt x="809618" y="1465943"/>
                  <a:pt x="0" y="1465943"/>
                </a:cubicBezTo>
                <a:lnTo>
                  <a:pt x="0" y="667658"/>
                </a:lnTo>
                <a:cubicBezTo>
                  <a:pt x="368737" y="667658"/>
                  <a:pt x="667658" y="368737"/>
                  <a:pt x="667658" y="0"/>
                </a:cubicBezTo>
                <a:close/>
              </a:path>
            </a:pathLst>
          </a:custGeom>
          <a:solidFill>
            <a:schemeClr val="accent1">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cs typeface="+mn-ea"/>
              <a:sym typeface="+mn-lt"/>
            </a:endParaRPr>
          </a:p>
        </p:txBody>
      </p:sp>
      <p:sp>
        <p:nvSpPr>
          <p:cNvPr id="7" name="任意多边形: 形状 6"/>
          <p:cNvSpPr/>
          <p:nvPr/>
        </p:nvSpPr>
        <p:spPr>
          <a:xfrm flipH="1" flipV="1">
            <a:off x="11385301" y="6016124"/>
            <a:ext cx="806699" cy="841876"/>
          </a:xfrm>
          <a:custGeom>
            <a:avLst/>
            <a:gdLst>
              <a:gd name="connsiteX0" fmla="*/ 0 w 806699"/>
              <a:gd name="connsiteY0" fmla="*/ 841876 h 841876"/>
              <a:gd name="connsiteX1" fmla="*/ 0 w 806699"/>
              <a:gd name="connsiteY1" fmla="*/ 0 h 841876"/>
              <a:gd name="connsiteX2" fmla="*/ 806699 w 806699"/>
              <a:gd name="connsiteY2" fmla="*/ 0 h 841876"/>
              <a:gd name="connsiteX3" fmla="*/ 784714 w 806699"/>
              <a:gd name="connsiteY3" fmla="*/ 60067 h 841876"/>
              <a:gd name="connsiteX4" fmla="*/ 4583 w 806699"/>
              <a:gd name="connsiteY4" fmla="*/ 840198 h 841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6699" h="841876">
                <a:moveTo>
                  <a:pt x="0" y="841876"/>
                </a:moveTo>
                <a:lnTo>
                  <a:pt x="0" y="0"/>
                </a:lnTo>
                <a:lnTo>
                  <a:pt x="806699" y="0"/>
                </a:lnTo>
                <a:lnTo>
                  <a:pt x="784714" y="60067"/>
                </a:lnTo>
                <a:cubicBezTo>
                  <a:pt x="636352" y="410833"/>
                  <a:pt x="355349" y="691837"/>
                  <a:pt x="4583" y="840198"/>
                </a:cubicBezTo>
                <a:close/>
              </a:path>
            </a:pathLst>
          </a:custGeom>
          <a:solidFill>
            <a:schemeClr val="accent1">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cs typeface="+mn-ea"/>
              <a:sym typeface="+mn-lt"/>
            </a:endParaRPr>
          </a:p>
        </p:txBody>
      </p:sp>
      <p:grpSp>
        <p:nvGrpSpPr>
          <p:cNvPr id="8" name="组合 7"/>
          <p:cNvGrpSpPr/>
          <p:nvPr>
            <p:custDataLst>
              <p:tags r:id="rId2"/>
            </p:custDataLst>
          </p:nvPr>
        </p:nvGrpSpPr>
        <p:grpSpPr>
          <a:xfrm>
            <a:off x="5857421" y="1915142"/>
            <a:ext cx="4977464" cy="1080000"/>
            <a:chOff x="5857421" y="1915142"/>
            <a:chExt cx="4977464" cy="1080000"/>
          </a:xfrm>
        </p:grpSpPr>
        <p:sp>
          <p:nvSpPr>
            <p:cNvPr id="21" name="Shape1"/>
            <p:cNvSpPr txBox="1"/>
            <p:nvPr>
              <p:custDataLst>
                <p:tags r:id="rId3"/>
              </p:custDataLst>
            </p:nvPr>
          </p:nvSpPr>
          <p:spPr>
            <a:xfrm>
              <a:off x="5857421" y="1915142"/>
              <a:ext cx="540000" cy="1080000"/>
            </a:xfrm>
            <a:prstGeom prst="roundRect">
              <a:avLst>
                <a:gd name="adj" fmla="val 50000"/>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cs typeface="+mn-ea"/>
                <a:sym typeface="+mn-lt"/>
              </a:endParaRPr>
            </a:p>
          </p:txBody>
        </p:sp>
        <p:sp>
          <p:nvSpPr>
            <p:cNvPr id="22" name="Number1"/>
            <p:cNvSpPr txBox="1"/>
            <p:nvPr>
              <p:custDataLst>
                <p:tags r:id="rId4"/>
              </p:custDataLst>
            </p:nvPr>
          </p:nvSpPr>
          <p:spPr>
            <a:xfrm>
              <a:off x="5857421" y="1915142"/>
              <a:ext cx="540000" cy="540000"/>
            </a:xfrm>
            <a:prstGeom prst="roundRect">
              <a:avLst>
                <a:gd name="adj" fmla="val 50000"/>
              </a:avLst>
            </a:prstGeom>
            <a:solidFill>
              <a:schemeClr val="accent1"/>
            </a:solidFill>
            <a:ln w="12700" cap="flat">
              <a:noFill/>
              <a:prstDash val="solid"/>
              <a:miter/>
            </a:ln>
            <a:effectLst/>
          </p:spPr>
          <p:txBody>
            <a:bodyPr wrap="none" rtlCol="0" anchor="ctr"/>
            <a:lstStyle>
              <a:defPPr>
                <a:defRPr lang="zh-CN"/>
              </a:defPPr>
              <a:lvl1pPr algn="ctr">
                <a:defRPr sz="1600" b="1">
                  <a:solidFill>
                    <a:srgbClr val="FFFFFF"/>
                  </a:solidFill>
                </a:defRPr>
              </a:lvl1pPr>
            </a:lstStyle>
            <a:p>
              <a:r>
                <a:rPr lang="en-US" altLang="zh-CN" dirty="0">
                  <a:cs typeface="+mn-ea"/>
                  <a:sym typeface="+mn-lt"/>
                </a:rPr>
                <a:t>01</a:t>
              </a:r>
              <a:endParaRPr lang="zh-CN" altLang="en-US" dirty="0">
                <a:cs typeface="+mn-ea"/>
                <a:sym typeface="+mn-lt"/>
              </a:endParaRPr>
            </a:p>
          </p:txBody>
        </p:sp>
        <p:sp>
          <p:nvSpPr>
            <p:cNvPr id="23" name="ComponentBackground1"/>
            <p:cNvSpPr/>
            <p:nvPr>
              <p:custDataLst>
                <p:tags r:id="rId5"/>
              </p:custDataLst>
            </p:nvPr>
          </p:nvSpPr>
          <p:spPr>
            <a:xfrm>
              <a:off x="6641566" y="1915142"/>
              <a:ext cx="4193319" cy="1071748"/>
            </a:xfrm>
            <a:prstGeom prst="roundRect">
              <a:avLst>
                <a:gd name="adj" fmla="val 16700"/>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200" dirty="0">
                <a:cs typeface="+mn-ea"/>
                <a:sym typeface="+mn-lt"/>
              </a:endParaRPr>
            </a:p>
          </p:txBody>
        </p:sp>
        <p:sp>
          <p:nvSpPr>
            <p:cNvPr id="24" name="Bullet1"/>
            <p:cNvSpPr/>
            <p:nvPr>
              <p:custDataLst>
                <p:tags r:id="rId6"/>
              </p:custDataLst>
            </p:nvPr>
          </p:nvSpPr>
          <p:spPr>
            <a:xfrm>
              <a:off x="6741488" y="1964216"/>
              <a:ext cx="3875712" cy="4704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zh-CN" altLang="en-US" b="1">
                  <a:solidFill>
                    <a:schemeClr val="tx1"/>
                  </a:solidFill>
                  <a:cs typeface="+mn-ea"/>
                  <a:sym typeface="+mn-lt"/>
                </a:rPr>
                <a:t>单击此处添加标题</a:t>
              </a:r>
              <a:endParaRPr kumimoji="1" lang="zh-CN" altLang="en-US" b="1">
                <a:solidFill>
                  <a:schemeClr val="tx1"/>
                </a:solidFill>
                <a:cs typeface="+mn-ea"/>
                <a:sym typeface="+mn-lt"/>
              </a:endParaRPr>
            </a:p>
          </p:txBody>
        </p:sp>
        <p:sp>
          <p:nvSpPr>
            <p:cNvPr id="25" name="Text1"/>
            <p:cNvSpPr/>
            <p:nvPr>
              <p:custDataLst>
                <p:tags r:id="rId7"/>
              </p:custDataLst>
            </p:nvPr>
          </p:nvSpPr>
          <p:spPr>
            <a:xfrm>
              <a:off x="6741488" y="2433588"/>
              <a:ext cx="3875712" cy="515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zh-CN" altLang="en-US" sz="1200">
                  <a:solidFill>
                    <a:schemeClr val="tx1"/>
                  </a:solidFill>
                  <a:cs typeface="+mn-ea"/>
                  <a:sym typeface="+mn-lt"/>
                </a:rPr>
                <a:t>请输入文本内容请输入文本内容请输入文本内容请输入文本内容</a:t>
              </a:r>
              <a:endParaRPr kumimoji="1" lang="zh-CN" altLang="en-US" sz="1200">
                <a:solidFill>
                  <a:schemeClr val="tx1"/>
                </a:solidFill>
                <a:cs typeface="+mn-ea"/>
                <a:sym typeface="+mn-lt"/>
              </a:endParaRPr>
            </a:p>
          </p:txBody>
        </p:sp>
      </p:grpSp>
      <p:grpSp>
        <p:nvGrpSpPr>
          <p:cNvPr id="9" name="组合 8"/>
          <p:cNvGrpSpPr/>
          <p:nvPr>
            <p:custDataLst>
              <p:tags r:id="rId8"/>
            </p:custDataLst>
          </p:nvPr>
        </p:nvGrpSpPr>
        <p:grpSpPr>
          <a:xfrm>
            <a:off x="5857421" y="3429000"/>
            <a:ext cx="4977464" cy="1080000"/>
            <a:chOff x="5857421" y="3429000"/>
            <a:chExt cx="4977464" cy="1080000"/>
          </a:xfrm>
        </p:grpSpPr>
        <p:sp>
          <p:nvSpPr>
            <p:cNvPr id="16" name="Shape2"/>
            <p:cNvSpPr txBox="1"/>
            <p:nvPr>
              <p:custDataLst>
                <p:tags r:id="rId9"/>
              </p:custDataLst>
            </p:nvPr>
          </p:nvSpPr>
          <p:spPr>
            <a:xfrm>
              <a:off x="5857421" y="3429000"/>
              <a:ext cx="540000" cy="1080000"/>
            </a:xfrm>
            <a:prstGeom prst="roundRect">
              <a:avLst>
                <a:gd name="adj" fmla="val 50000"/>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cs typeface="+mn-ea"/>
                <a:sym typeface="+mn-lt"/>
              </a:endParaRPr>
            </a:p>
          </p:txBody>
        </p:sp>
        <p:sp>
          <p:nvSpPr>
            <p:cNvPr id="17" name="Number2"/>
            <p:cNvSpPr txBox="1"/>
            <p:nvPr>
              <p:custDataLst>
                <p:tags r:id="rId10"/>
              </p:custDataLst>
            </p:nvPr>
          </p:nvSpPr>
          <p:spPr>
            <a:xfrm>
              <a:off x="5857421" y="3429000"/>
              <a:ext cx="540000" cy="540000"/>
            </a:xfrm>
            <a:prstGeom prst="roundRect">
              <a:avLst>
                <a:gd name="adj" fmla="val 50000"/>
              </a:avLst>
            </a:prstGeom>
            <a:solidFill>
              <a:schemeClr val="accent2"/>
            </a:solidFill>
            <a:ln w="12700" cap="flat">
              <a:noFill/>
              <a:prstDash val="solid"/>
              <a:miter/>
            </a:ln>
            <a:effectLst/>
          </p:spPr>
          <p:txBody>
            <a:bodyPr wrap="none" rtlCol="0" anchor="ctr"/>
            <a:lstStyle>
              <a:defPPr>
                <a:defRPr lang="zh-CN"/>
              </a:defPPr>
              <a:lvl1pPr algn="ctr">
                <a:defRPr sz="1600" b="1">
                  <a:solidFill>
                    <a:srgbClr val="FFFFFF"/>
                  </a:solidFill>
                </a:defRPr>
              </a:lvl1pPr>
            </a:lstStyle>
            <a:p>
              <a:r>
                <a:rPr lang="en-US" altLang="zh-CN">
                  <a:cs typeface="+mn-ea"/>
                  <a:sym typeface="+mn-lt"/>
                </a:rPr>
                <a:t>02</a:t>
              </a:r>
              <a:endParaRPr lang="zh-CN" altLang="en-US" dirty="0">
                <a:cs typeface="+mn-ea"/>
                <a:sym typeface="+mn-lt"/>
              </a:endParaRPr>
            </a:p>
          </p:txBody>
        </p:sp>
        <p:sp>
          <p:nvSpPr>
            <p:cNvPr id="18" name="ComponentBackground2"/>
            <p:cNvSpPr/>
            <p:nvPr>
              <p:custDataLst>
                <p:tags r:id="rId11"/>
              </p:custDataLst>
            </p:nvPr>
          </p:nvSpPr>
          <p:spPr>
            <a:xfrm>
              <a:off x="6641566" y="3429000"/>
              <a:ext cx="4193319" cy="1071748"/>
            </a:xfrm>
            <a:prstGeom prst="roundRect">
              <a:avLst>
                <a:gd name="adj" fmla="val 16700"/>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200" dirty="0">
                <a:cs typeface="+mn-ea"/>
                <a:sym typeface="+mn-lt"/>
              </a:endParaRPr>
            </a:p>
          </p:txBody>
        </p:sp>
        <p:sp>
          <p:nvSpPr>
            <p:cNvPr id="19" name="Bullet2"/>
            <p:cNvSpPr/>
            <p:nvPr>
              <p:custDataLst>
                <p:tags r:id="rId12"/>
              </p:custDataLst>
            </p:nvPr>
          </p:nvSpPr>
          <p:spPr>
            <a:xfrm>
              <a:off x="6741488" y="3478074"/>
              <a:ext cx="3875712" cy="4704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zh-CN" altLang="en-US" b="1">
                  <a:solidFill>
                    <a:schemeClr val="tx1"/>
                  </a:solidFill>
                  <a:cs typeface="+mn-ea"/>
                  <a:sym typeface="+mn-lt"/>
                </a:rPr>
                <a:t>单击此处添加标题</a:t>
              </a:r>
              <a:endParaRPr kumimoji="1" lang="zh-CN" altLang="en-US" b="1">
                <a:solidFill>
                  <a:schemeClr val="tx1"/>
                </a:solidFill>
                <a:cs typeface="+mn-ea"/>
                <a:sym typeface="+mn-lt"/>
              </a:endParaRPr>
            </a:p>
          </p:txBody>
        </p:sp>
        <p:sp>
          <p:nvSpPr>
            <p:cNvPr id="20" name="Text2"/>
            <p:cNvSpPr/>
            <p:nvPr>
              <p:custDataLst>
                <p:tags r:id="rId13"/>
              </p:custDataLst>
            </p:nvPr>
          </p:nvSpPr>
          <p:spPr>
            <a:xfrm>
              <a:off x="6741488" y="3947446"/>
              <a:ext cx="3875712" cy="515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sz="1200">
                  <a:solidFill>
                    <a:schemeClr val="tx1"/>
                  </a:solidFill>
                  <a:cs typeface="+mn-ea"/>
                  <a:sym typeface="+mn-lt"/>
                </a:rPr>
                <a:t>请输入文本内容请输入文本内容请输入文本内容请输入文本内容</a:t>
              </a:r>
              <a:endParaRPr kumimoji="1" sz="1200">
                <a:solidFill>
                  <a:schemeClr val="tx1"/>
                </a:solidFill>
                <a:cs typeface="+mn-ea"/>
                <a:sym typeface="+mn-lt"/>
              </a:endParaRPr>
            </a:p>
          </p:txBody>
        </p:sp>
      </p:grpSp>
      <p:grpSp>
        <p:nvGrpSpPr>
          <p:cNvPr id="10" name="组合 9"/>
          <p:cNvGrpSpPr/>
          <p:nvPr>
            <p:custDataLst>
              <p:tags r:id="rId14"/>
            </p:custDataLst>
          </p:nvPr>
        </p:nvGrpSpPr>
        <p:grpSpPr>
          <a:xfrm>
            <a:off x="5857421" y="5030032"/>
            <a:ext cx="4977464" cy="1080000"/>
            <a:chOff x="5857421" y="5030032"/>
            <a:chExt cx="4977464" cy="1080000"/>
          </a:xfrm>
        </p:grpSpPr>
        <p:sp>
          <p:nvSpPr>
            <p:cNvPr id="11" name="Shape3"/>
            <p:cNvSpPr txBox="1"/>
            <p:nvPr>
              <p:custDataLst>
                <p:tags r:id="rId15"/>
              </p:custDataLst>
            </p:nvPr>
          </p:nvSpPr>
          <p:spPr>
            <a:xfrm>
              <a:off x="5857421" y="5030032"/>
              <a:ext cx="540000" cy="1080000"/>
            </a:xfrm>
            <a:prstGeom prst="roundRect">
              <a:avLst>
                <a:gd name="adj" fmla="val 50000"/>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cs typeface="+mn-ea"/>
                <a:sym typeface="+mn-lt"/>
              </a:endParaRPr>
            </a:p>
          </p:txBody>
        </p:sp>
        <p:sp>
          <p:nvSpPr>
            <p:cNvPr id="12" name="Number3"/>
            <p:cNvSpPr txBox="1"/>
            <p:nvPr>
              <p:custDataLst>
                <p:tags r:id="rId16"/>
              </p:custDataLst>
            </p:nvPr>
          </p:nvSpPr>
          <p:spPr>
            <a:xfrm>
              <a:off x="5857421" y="5030032"/>
              <a:ext cx="540000" cy="540000"/>
            </a:xfrm>
            <a:prstGeom prst="roundRect">
              <a:avLst>
                <a:gd name="adj" fmla="val 50000"/>
              </a:avLst>
            </a:prstGeom>
            <a:solidFill>
              <a:schemeClr val="accent3"/>
            </a:solidFill>
            <a:ln w="12700" cap="flat">
              <a:noFill/>
              <a:prstDash val="solid"/>
              <a:miter/>
            </a:ln>
            <a:effectLst/>
          </p:spPr>
          <p:txBody>
            <a:bodyPr wrap="none" rtlCol="0" anchor="ctr"/>
            <a:lstStyle>
              <a:defPPr>
                <a:defRPr lang="zh-CN"/>
              </a:defPPr>
              <a:lvl1pPr algn="ctr">
                <a:defRPr sz="1600" b="1">
                  <a:solidFill>
                    <a:srgbClr val="FFFFFF"/>
                  </a:solidFill>
                </a:defRPr>
              </a:lvl1pPr>
            </a:lstStyle>
            <a:p>
              <a:r>
                <a:rPr lang="en-US" altLang="zh-CN">
                  <a:cs typeface="+mn-ea"/>
                  <a:sym typeface="+mn-lt"/>
                </a:rPr>
                <a:t>03</a:t>
              </a:r>
              <a:endParaRPr lang="zh-CN" altLang="en-US" dirty="0">
                <a:cs typeface="+mn-ea"/>
                <a:sym typeface="+mn-lt"/>
              </a:endParaRPr>
            </a:p>
          </p:txBody>
        </p:sp>
        <p:sp>
          <p:nvSpPr>
            <p:cNvPr id="13" name="ComponentBackground3"/>
            <p:cNvSpPr/>
            <p:nvPr>
              <p:custDataLst>
                <p:tags r:id="rId17"/>
              </p:custDataLst>
            </p:nvPr>
          </p:nvSpPr>
          <p:spPr>
            <a:xfrm>
              <a:off x="6641566" y="5030032"/>
              <a:ext cx="4193319" cy="1071748"/>
            </a:xfrm>
            <a:prstGeom prst="roundRect">
              <a:avLst>
                <a:gd name="adj" fmla="val 16700"/>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200" dirty="0">
                <a:cs typeface="+mn-ea"/>
                <a:sym typeface="+mn-lt"/>
              </a:endParaRPr>
            </a:p>
          </p:txBody>
        </p:sp>
        <p:sp>
          <p:nvSpPr>
            <p:cNvPr id="14" name="Bullet3"/>
            <p:cNvSpPr/>
            <p:nvPr>
              <p:custDataLst>
                <p:tags r:id="rId18"/>
              </p:custDataLst>
            </p:nvPr>
          </p:nvSpPr>
          <p:spPr>
            <a:xfrm>
              <a:off x="6741488" y="5079106"/>
              <a:ext cx="3875712" cy="4704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zh-CN" altLang="en-US" b="1">
                  <a:solidFill>
                    <a:schemeClr val="tx1"/>
                  </a:solidFill>
                  <a:cs typeface="+mn-ea"/>
                  <a:sym typeface="+mn-lt"/>
                </a:rPr>
                <a:t>单击此处添加标题</a:t>
              </a:r>
              <a:endParaRPr kumimoji="1" lang="zh-CN" altLang="en-US" b="1">
                <a:solidFill>
                  <a:schemeClr val="tx1"/>
                </a:solidFill>
                <a:cs typeface="+mn-ea"/>
                <a:sym typeface="+mn-lt"/>
              </a:endParaRPr>
            </a:p>
          </p:txBody>
        </p:sp>
        <p:sp>
          <p:nvSpPr>
            <p:cNvPr id="15" name="Text3"/>
            <p:cNvSpPr/>
            <p:nvPr>
              <p:custDataLst>
                <p:tags r:id="rId19"/>
              </p:custDataLst>
            </p:nvPr>
          </p:nvSpPr>
          <p:spPr>
            <a:xfrm>
              <a:off x="6741488" y="5548478"/>
              <a:ext cx="3875712" cy="515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zh-CN" altLang="en-US" sz="1200">
                  <a:solidFill>
                    <a:schemeClr val="tx1"/>
                  </a:solidFill>
                  <a:cs typeface="+mn-ea"/>
                  <a:sym typeface="+mn-lt"/>
                </a:rPr>
                <a:t>请输入文本内容请输入文本内容请输入文本内容请输入文本内容</a:t>
              </a:r>
              <a:endParaRPr kumimoji="1" lang="zh-CN" altLang="en-US" sz="1200">
                <a:solidFill>
                  <a:schemeClr val="tx1"/>
                </a:solidFill>
                <a:cs typeface="+mn-ea"/>
                <a:sym typeface="+mn-lt"/>
              </a:endParaRPr>
            </a:p>
          </p:txBody>
        </p:sp>
      </p:grpSp>
      <p:sp>
        <p:nvSpPr>
          <p:cNvPr id="2" name="标题 1"/>
          <p:cNvSpPr>
            <a:spLocks noGrp="1"/>
          </p:cNvSpPr>
          <p:nvPr>
            <p:ph type="title"/>
          </p:nvPr>
        </p:nvSpPr>
        <p:spPr/>
        <p:txBody>
          <a:bodyPr/>
          <a:lstStyle/>
          <a:p>
            <a:r>
              <a:t>单击此处添加标题</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custDataLst>
              <p:tags r:id="rId1"/>
            </p:custDataLst>
          </p:nvPr>
        </p:nvGrpSpPr>
        <p:grpSpPr>
          <a:xfrm>
            <a:off x="551950" y="1320629"/>
            <a:ext cx="11093098" cy="4636339"/>
            <a:chOff x="551950" y="1320629"/>
            <a:chExt cx="11093098" cy="4636339"/>
          </a:xfrm>
        </p:grpSpPr>
        <p:sp>
          <p:nvSpPr>
            <p:cNvPr id="4" name="ïṣlïdé"/>
            <p:cNvSpPr/>
            <p:nvPr>
              <p:custDataLst>
                <p:tags r:id="rId2"/>
              </p:custDataLst>
            </p:nvPr>
          </p:nvSpPr>
          <p:spPr>
            <a:xfrm rot="10800000" flipH="1">
              <a:off x="2384266" y="1959114"/>
              <a:ext cx="7421880" cy="2282320"/>
            </a:xfrm>
            <a:prstGeom prst="donut">
              <a:avLst>
                <a:gd name="adj" fmla="val 12561"/>
              </a:avLst>
            </a:prstGeom>
            <a:gradFill flip="none" rotWithShape="1">
              <a:gsLst>
                <a:gs pos="35000">
                  <a:schemeClr val="accent1">
                    <a:lumMod val="0"/>
                    <a:lumOff val="100000"/>
                    <a:alpha val="0"/>
                  </a:schemeClr>
                </a:gs>
                <a:gs pos="100000">
                  <a:schemeClr val="accent1">
                    <a:alpha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endParaRPr>
            </a:p>
          </p:txBody>
        </p:sp>
        <p:sp>
          <p:nvSpPr>
            <p:cNvPr id="5" name="íṩlíḋè"/>
            <p:cNvSpPr/>
            <p:nvPr>
              <p:custDataLst>
                <p:tags r:id="rId3"/>
              </p:custDataLst>
            </p:nvPr>
          </p:nvSpPr>
          <p:spPr>
            <a:xfrm rot="6392628">
              <a:off x="2936122" y="3479325"/>
              <a:ext cx="171711" cy="171711"/>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6" name="íṧlïḋe"/>
            <p:cNvSpPr/>
            <p:nvPr>
              <p:custDataLst>
                <p:tags r:id="rId4"/>
              </p:custDataLst>
            </p:nvPr>
          </p:nvSpPr>
          <p:spPr>
            <a:xfrm rot="5400000">
              <a:off x="6003794" y="4008729"/>
              <a:ext cx="171711" cy="171711"/>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sp>
          <p:nvSpPr>
            <p:cNvPr id="7" name="íṩlíḋè"/>
            <p:cNvSpPr/>
            <p:nvPr>
              <p:custDataLst>
                <p:tags r:id="rId5"/>
              </p:custDataLst>
            </p:nvPr>
          </p:nvSpPr>
          <p:spPr>
            <a:xfrm rot="3387981">
              <a:off x="9151506" y="3454222"/>
              <a:ext cx="171711" cy="171711"/>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cxnSp>
          <p:nvCxnSpPr>
            <p:cNvPr id="8" name="íṩľíḓé"/>
            <p:cNvCxnSpPr/>
            <p:nvPr>
              <p:custDataLst>
                <p:tags r:id="rId6"/>
              </p:custDataLst>
            </p:nvPr>
          </p:nvCxnSpPr>
          <p:spPr>
            <a:xfrm>
              <a:off x="3268426" y="4420578"/>
              <a:ext cx="0" cy="122184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9" name="íŝlîḑè"/>
            <p:cNvCxnSpPr/>
            <p:nvPr>
              <p:custDataLst>
                <p:tags r:id="rId7"/>
              </p:custDataLst>
            </p:nvPr>
          </p:nvCxnSpPr>
          <p:spPr>
            <a:xfrm>
              <a:off x="9029766" y="4420578"/>
              <a:ext cx="0" cy="122184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0" name="Title"/>
            <p:cNvSpPr txBox="1"/>
            <p:nvPr/>
          </p:nvSpPr>
          <p:spPr>
            <a:xfrm>
              <a:off x="1587027" y="1320629"/>
              <a:ext cx="9017946" cy="618464"/>
            </a:xfrm>
            <a:prstGeom prst="rect">
              <a:avLst/>
            </a:prstGeom>
            <a:noFill/>
            <a:ln>
              <a:noFill/>
            </a:ln>
          </p:spPr>
          <p:txBody>
            <a:bodyPr wrap="square" lIns="91440" tIns="45720" rIns="91440" bIns="45720" anchor="b" anchorCtr="0">
              <a:norm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sz="2400" b="1" i="0" u="none" strike="noStrike" kern="1200" cap="none" spc="0" normalizeH="0" baseline="0" noProof="0" dirty="0">
                  <a:ln>
                    <a:noFill/>
                  </a:ln>
                  <a:effectLst/>
                  <a:uLnTx/>
                  <a:uFillTx/>
                </a:rPr>
                <a:t>请输入文本内容请输入文本内容</a:t>
              </a:r>
              <a:endParaRPr kumimoji="0" sz="2400" b="1" i="0" u="none" strike="noStrike" kern="1200" cap="none" spc="0" normalizeH="0" baseline="0" noProof="0" dirty="0">
                <a:ln>
                  <a:noFill/>
                </a:ln>
                <a:effectLst/>
                <a:uLnTx/>
                <a:uFillTx/>
              </a:endParaRPr>
            </a:p>
          </p:txBody>
        </p:sp>
        <p:grpSp>
          <p:nvGrpSpPr>
            <p:cNvPr id="11" name="组合 10"/>
            <p:cNvGrpSpPr/>
            <p:nvPr/>
          </p:nvGrpSpPr>
          <p:grpSpPr>
            <a:xfrm>
              <a:off x="551950" y="2393638"/>
              <a:ext cx="2512384" cy="3563330"/>
              <a:chOff x="551950" y="2393638"/>
              <a:chExt cx="2512384" cy="3563330"/>
            </a:xfrm>
          </p:grpSpPr>
          <p:sp>
            <p:nvSpPr>
              <p:cNvPr id="24" name="Number1"/>
              <p:cNvSpPr/>
              <p:nvPr>
                <p:custDataLst>
                  <p:tags r:id="rId8"/>
                </p:custDataLst>
              </p:nvPr>
            </p:nvSpPr>
            <p:spPr>
              <a:xfrm>
                <a:off x="1228998" y="2393638"/>
                <a:ext cx="975814" cy="975814"/>
              </a:xfrm>
              <a:prstGeom prst="ellipse">
                <a:avLst/>
              </a:prstGeom>
              <a:solidFill>
                <a:schemeClr val="accent1"/>
              </a:solidFill>
              <a:ln w="12700" cap="flat">
                <a:noFill/>
                <a:prstDash val="solid"/>
                <a:miter/>
              </a:ln>
              <a:effectLst/>
            </p:spPr>
            <p:txBody>
              <a:bodyPr wrap="none" lIns="91440" tIns="45720" rIns="91440" bIns="45720" rtlCol="0" anchor="ctr">
                <a:noAutofit/>
              </a:bodyPr>
              <a:lstStyle/>
              <a:p>
                <a:pPr algn="ctr">
                  <a:lnSpc>
                    <a:spcPct val="120000"/>
                  </a:lnSpc>
                </a:pPr>
                <a:r>
                  <a:rPr lang="en-US" sz="2000" b="1" dirty="0">
                    <a:solidFill>
                      <a:srgbClr val="FFFFFF"/>
                    </a:solidFill>
                  </a:rPr>
                  <a:t>01</a:t>
                </a:r>
                <a:endParaRPr sz="2000" b="1" dirty="0">
                  <a:solidFill>
                    <a:srgbClr val="FFFFFF"/>
                  </a:solidFill>
                </a:endParaRPr>
              </a:p>
            </p:txBody>
          </p:sp>
          <p:sp>
            <p:nvSpPr>
              <p:cNvPr id="25" name="Bullet1"/>
              <p:cNvSpPr/>
              <p:nvPr>
                <p:custDataLst>
                  <p:tags r:id="rId9"/>
                </p:custDataLst>
              </p:nvPr>
            </p:nvSpPr>
            <p:spPr>
              <a:xfrm>
                <a:off x="551950" y="4420578"/>
                <a:ext cx="2512381" cy="549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b="1" dirty="0">
                    <a:solidFill>
                      <a:schemeClr val="tx1"/>
                    </a:solidFill>
                  </a:rPr>
                  <a:t>单击此处添加标题</a:t>
                </a:r>
                <a:endParaRPr kumimoji="1" b="1" dirty="0">
                  <a:solidFill>
                    <a:schemeClr val="tx1"/>
                  </a:solidFill>
                </a:endParaRPr>
              </a:p>
            </p:txBody>
          </p:sp>
          <p:sp>
            <p:nvSpPr>
              <p:cNvPr id="26" name="Text1"/>
              <p:cNvSpPr/>
              <p:nvPr>
                <p:custDataLst>
                  <p:tags r:id="rId10"/>
                </p:custDataLst>
              </p:nvPr>
            </p:nvSpPr>
            <p:spPr>
              <a:xfrm>
                <a:off x="551952" y="4982692"/>
                <a:ext cx="2512382" cy="974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kumimoji="1" sz="1200">
                    <a:solidFill>
                      <a:schemeClr val="tx1"/>
                    </a:solidFill>
                  </a:rPr>
                  <a:t>请输入文本内容请输入文本内容</a:t>
                </a:r>
                <a:endParaRPr kumimoji="1" sz="1200">
                  <a:solidFill>
                    <a:schemeClr val="tx1"/>
                  </a:solidFill>
                </a:endParaRPr>
              </a:p>
              <a:p>
                <a:pPr algn="ctr">
                  <a:lnSpc>
                    <a:spcPct val="120000"/>
                  </a:lnSpc>
                </a:pPr>
                <a:r>
                  <a:rPr kumimoji="1" sz="1200">
                    <a:solidFill>
                      <a:schemeClr val="tx1"/>
                    </a:solidFill>
                  </a:rPr>
                  <a:t>请输入文本内容请输入文本内容</a:t>
                </a:r>
                <a:endParaRPr kumimoji="1" sz="1200">
                  <a:solidFill>
                    <a:schemeClr val="tx1"/>
                  </a:solidFill>
                </a:endParaRPr>
              </a:p>
            </p:txBody>
          </p:sp>
        </p:grpSp>
        <p:grpSp>
          <p:nvGrpSpPr>
            <p:cNvPr id="12" name="组合 11"/>
            <p:cNvGrpSpPr/>
            <p:nvPr/>
          </p:nvGrpSpPr>
          <p:grpSpPr>
            <a:xfrm>
              <a:off x="3473013" y="3297675"/>
              <a:ext cx="2329910" cy="2659293"/>
              <a:chOff x="3473013" y="3297675"/>
              <a:chExt cx="2329910" cy="2659293"/>
            </a:xfrm>
          </p:grpSpPr>
          <p:sp>
            <p:nvSpPr>
              <p:cNvPr id="21" name="Number2"/>
              <p:cNvSpPr/>
              <p:nvPr>
                <p:custDataLst>
                  <p:tags r:id="rId11"/>
                </p:custDataLst>
              </p:nvPr>
            </p:nvSpPr>
            <p:spPr>
              <a:xfrm>
                <a:off x="4150061" y="3297675"/>
                <a:ext cx="975814" cy="975814"/>
              </a:xfrm>
              <a:prstGeom prst="ellipse">
                <a:avLst/>
              </a:prstGeom>
              <a:solidFill>
                <a:schemeClr val="accent2"/>
              </a:solidFill>
              <a:ln w="12700" cap="flat">
                <a:noFill/>
                <a:prstDash val="solid"/>
                <a:miter/>
              </a:ln>
              <a:effectLst/>
            </p:spPr>
            <p:txBody>
              <a:bodyPr wrap="none" lIns="91440" tIns="45720" rIns="91440" bIns="45720" rtlCol="0" anchor="ctr">
                <a:noAutofit/>
              </a:bodyPr>
              <a:lstStyle/>
              <a:p>
                <a:pPr algn="ctr">
                  <a:lnSpc>
                    <a:spcPct val="120000"/>
                  </a:lnSpc>
                </a:pPr>
                <a:r>
                  <a:rPr lang="en-US" sz="2000" b="1" dirty="0">
                    <a:solidFill>
                      <a:srgbClr val="FFFFFF"/>
                    </a:solidFill>
                  </a:rPr>
                  <a:t>02</a:t>
                </a:r>
                <a:endParaRPr sz="2000" b="1" dirty="0">
                  <a:solidFill>
                    <a:srgbClr val="FFFFFF"/>
                  </a:solidFill>
                </a:endParaRPr>
              </a:p>
            </p:txBody>
          </p:sp>
          <p:sp>
            <p:nvSpPr>
              <p:cNvPr id="22" name="Bullet2"/>
              <p:cNvSpPr/>
              <p:nvPr>
                <p:custDataLst>
                  <p:tags r:id="rId12"/>
                </p:custDataLst>
              </p:nvPr>
            </p:nvSpPr>
            <p:spPr>
              <a:xfrm>
                <a:off x="3473013" y="4420578"/>
                <a:ext cx="2329907" cy="549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dirty="0">
                    <a:solidFill>
                      <a:schemeClr val="tx1"/>
                    </a:solidFill>
                  </a:rPr>
                  <a:t>单击此处添加标题</a:t>
                </a:r>
                <a:endParaRPr kumimoji="1" lang="zh-CN" altLang="en-US" b="1" dirty="0">
                  <a:solidFill>
                    <a:schemeClr val="tx1"/>
                  </a:solidFill>
                </a:endParaRPr>
              </a:p>
            </p:txBody>
          </p:sp>
          <p:sp>
            <p:nvSpPr>
              <p:cNvPr id="23" name="Text2"/>
              <p:cNvSpPr/>
              <p:nvPr>
                <p:custDataLst>
                  <p:tags r:id="rId13"/>
                </p:custDataLst>
              </p:nvPr>
            </p:nvSpPr>
            <p:spPr>
              <a:xfrm>
                <a:off x="3473015" y="4982692"/>
                <a:ext cx="2329908" cy="974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kumimoji="1" sz="1200">
                    <a:solidFill>
                      <a:schemeClr val="tx1"/>
                    </a:solidFill>
                  </a:rPr>
                  <a:t>请输入文本内容请输入文本内容请输入文本内容请输入文本内容</a:t>
                </a:r>
                <a:endParaRPr kumimoji="1" sz="1200">
                  <a:solidFill>
                    <a:schemeClr val="tx1"/>
                  </a:solidFill>
                </a:endParaRPr>
              </a:p>
            </p:txBody>
          </p:sp>
        </p:grpSp>
        <p:grpSp>
          <p:nvGrpSpPr>
            <p:cNvPr id="13" name="组合 12"/>
            <p:cNvGrpSpPr/>
            <p:nvPr/>
          </p:nvGrpSpPr>
          <p:grpSpPr>
            <a:xfrm>
              <a:off x="6394076" y="3357681"/>
              <a:ext cx="2329910" cy="2599287"/>
              <a:chOff x="6394076" y="3357681"/>
              <a:chExt cx="2329910" cy="2599287"/>
            </a:xfrm>
          </p:grpSpPr>
          <p:sp>
            <p:nvSpPr>
              <p:cNvPr id="18" name="Number3"/>
              <p:cNvSpPr/>
              <p:nvPr>
                <p:custDataLst>
                  <p:tags r:id="rId14"/>
                </p:custDataLst>
              </p:nvPr>
            </p:nvSpPr>
            <p:spPr>
              <a:xfrm>
                <a:off x="7071124" y="3357681"/>
                <a:ext cx="975814" cy="975814"/>
              </a:xfrm>
              <a:prstGeom prst="ellipse">
                <a:avLst/>
              </a:prstGeom>
              <a:solidFill>
                <a:schemeClr val="accent1"/>
              </a:solidFill>
              <a:ln w="12700" cap="flat">
                <a:noFill/>
                <a:prstDash val="solid"/>
                <a:miter/>
              </a:ln>
              <a:effectLst/>
            </p:spPr>
            <p:txBody>
              <a:bodyPr wrap="none" lIns="91440" tIns="45720" rIns="91440" bIns="45720" rtlCol="0" anchor="ctr">
                <a:noAutofit/>
              </a:bodyPr>
              <a:lstStyle/>
              <a:p>
                <a:pPr algn="ctr">
                  <a:lnSpc>
                    <a:spcPct val="120000"/>
                  </a:lnSpc>
                </a:pPr>
                <a:r>
                  <a:rPr lang="en-US" sz="2000" b="1" dirty="0">
                    <a:solidFill>
                      <a:srgbClr val="FFFFFF"/>
                    </a:solidFill>
                  </a:rPr>
                  <a:t>03</a:t>
                </a:r>
                <a:endParaRPr sz="2000" b="1" dirty="0">
                  <a:solidFill>
                    <a:srgbClr val="FFFFFF"/>
                  </a:solidFill>
                </a:endParaRPr>
              </a:p>
            </p:txBody>
          </p:sp>
          <p:sp>
            <p:nvSpPr>
              <p:cNvPr id="19" name="Bullet3"/>
              <p:cNvSpPr/>
              <p:nvPr>
                <p:custDataLst>
                  <p:tags r:id="rId15"/>
                </p:custDataLst>
              </p:nvPr>
            </p:nvSpPr>
            <p:spPr>
              <a:xfrm>
                <a:off x="6394076" y="4420578"/>
                <a:ext cx="2329907" cy="549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dirty="0">
                    <a:solidFill>
                      <a:schemeClr val="tx1"/>
                    </a:solidFill>
                  </a:rPr>
                  <a:t>单击此处添加标题</a:t>
                </a:r>
                <a:endParaRPr kumimoji="1" lang="zh-CN" altLang="en-US" b="1" dirty="0">
                  <a:solidFill>
                    <a:schemeClr val="tx1"/>
                  </a:solidFill>
                </a:endParaRPr>
              </a:p>
            </p:txBody>
          </p:sp>
          <p:sp>
            <p:nvSpPr>
              <p:cNvPr id="20" name="Text3"/>
              <p:cNvSpPr/>
              <p:nvPr>
                <p:custDataLst>
                  <p:tags r:id="rId16"/>
                </p:custDataLst>
              </p:nvPr>
            </p:nvSpPr>
            <p:spPr>
              <a:xfrm>
                <a:off x="6394078" y="4982692"/>
                <a:ext cx="2329908" cy="974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kumimoji="1" sz="1200">
                    <a:solidFill>
                      <a:schemeClr val="tx1"/>
                    </a:solidFill>
                    <a:sym typeface="+mn-ea"/>
                  </a:rPr>
                  <a:t>请输入文本内容请输入文本内容请输入文本内容请输入文本内容</a:t>
                </a:r>
                <a:endParaRPr kumimoji="1" lang="en-US" altLang="zh-CN" sz="1200" dirty="0">
                  <a:solidFill>
                    <a:schemeClr val="tx1"/>
                  </a:solidFill>
                </a:endParaRPr>
              </a:p>
            </p:txBody>
          </p:sp>
        </p:grpSp>
        <p:grpSp>
          <p:nvGrpSpPr>
            <p:cNvPr id="14" name="组合 13"/>
            <p:cNvGrpSpPr/>
            <p:nvPr/>
          </p:nvGrpSpPr>
          <p:grpSpPr>
            <a:xfrm>
              <a:off x="9315138" y="2377142"/>
              <a:ext cx="2329910" cy="3579826"/>
              <a:chOff x="9315138" y="2377142"/>
              <a:chExt cx="2329910" cy="3579826"/>
            </a:xfrm>
          </p:grpSpPr>
          <p:sp>
            <p:nvSpPr>
              <p:cNvPr id="15" name="Number4"/>
              <p:cNvSpPr/>
              <p:nvPr>
                <p:custDataLst>
                  <p:tags r:id="rId17"/>
                </p:custDataLst>
              </p:nvPr>
            </p:nvSpPr>
            <p:spPr>
              <a:xfrm>
                <a:off x="9992186" y="2377142"/>
                <a:ext cx="975814" cy="975814"/>
              </a:xfrm>
              <a:prstGeom prst="ellipse">
                <a:avLst/>
              </a:prstGeom>
              <a:solidFill>
                <a:schemeClr val="accent2"/>
              </a:solidFill>
              <a:ln w="12700" cap="flat">
                <a:noFill/>
                <a:prstDash val="solid"/>
                <a:miter/>
              </a:ln>
              <a:effectLst/>
            </p:spPr>
            <p:txBody>
              <a:bodyPr wrap="none" lIns="91440" tIns="45720" rIns="91440" bIns="45720" rtlCol="0" anchor="ctr">
                <a:noAutofit/>
              </a:bodyPr>
              <a:lstStyle/>
              <a:p>
                <a:pPr algn="ctr">
                  <a:lnSpc>
                    <a:spcPct val="120000"/>
                  </a:lnSpc>
                </a:pPr>
                <a:r>
                  <a:rPr lang="en-US" sz="2000" b="1" dirty="0">
                    <a:solidFill>
                      <a:srgbClr val="FFFFFF"/>
                    </a:solidFill>
                  </a:rPr>
                  <a:t>04</a:t>
                </a:r>
                <a:endParaRPr sz="2000" b="1" dirty="0">
                  <a:solidFill>
                    <a:srgbClr val="FFFFFF"/>
                  </a:solidFill>
                </a:endParaRPr>
              </a:p>
            </p:txBody>
          </p:sp>
          <p:sp>
            <p:nvSpPr>
              <p:cNvPr id="16" name="Bullet4"/>
              <p:cNvSpPr/>
              <p:nvPr>
                <p:custDataLst>
                  <p:tags r:id="rId18"/>
                </p:custDataLst>
              </p:nvPr>
            </p:nvSpPr>
            <p:spPr>
              <a:xfrm>
                <a:off x="9315138" y="4420578"/>
                <a:ext cx="2329907" cy="549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dirty="0">
                    <a:solidFill>
                      <a:schemeClr val="tx1"/>
                    </a:solidFill>
                  </a:rPr>
                  <a:t>单击此处添加标题</a:t>
                </a:r>
                <a:endParaRPr kumimoji="1" lang="zh-CN" altLang="en-US" b="1" dirty="0">
                  <a:solidFill>
                    <a:schemeClr val="tx1"/>
                  </a:solidFill>
                </a:endParaRPr>
              </a:p>
            </p:txBody>
          </p:sp>
          <p:sp>
            <p:nvSpPr>
              <p:cNvPr id="17" name="Text4"/>
              <p:cNvSpPr/>
              <p:nvPr>
                <p:custDataLst>
                  <p:tags r:id="rId19"/>
                </p:custDataLst>
              </p:nvPr>
            </p:nvSpPr>
            <p:spPr>
              <a:xfrm>
                <a:off x="9315140" y="4982692"/>
                <a:ext cx="2329908" cy="974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kumimoji="1" sz="1200">
                    <a:solidFill>
                      <a:schemeClr val="tx1"/>
                    </a:solidFill>
                    <a:sym typeface="+mn-ea"/>
                  </a:rPr>
                  <a:t>请输入文本内容请输入文本内容请输入文本内容请输入文本内容</a:t>
                </a:r>
                <a:endParaRPr kumimoji="1" lang="en-US" altLang="zh-CN" sz="1200" dirty="0">
                  <a:solidFill>
                    <a:schemeClr val="tx1"/>
                  </a:solidFill>
                </a:endParaRPr>
              </a:p>
            </p:txBody>
          </p:sp>
        </p:grpSp>
      </p:grpSp>
      <p:sp>
        <p:nvSpPr>
          <p:cNvPr id="2" name="标题 1"/>
          <p:cNvSpPr>
            <a:spLocks noGrp="1"/>
          </p:cNvSpPr>
          <p:nvPr>
            <p:ph type="title"/>
          </p:nvPr>
        </p:nvSpPr>
        <p:spPr/>
        <p:txBody>
          <a:bodyPr/>
          <a:lstStyle/>
          <a:p>
            <a:r>
              <a:rPr lang="zh-CN" altLang="en-US"/>
              <a:t>单击此处添加标题</a:t>
            </a:r>
            <a:endParaRPr lang="zh-CN" altLang="en-US"/>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椭圆 10"/>
          <p:cNvSpPr/>
          <p:nvPr/>
        </p:nvSpPr>
        <p:spPr>
          <a:xfrm>
            <a:off x="11293929" y="-1383282"/>
            <a:ext cx="2139845" cy="2139845"/>
          </a:xfrm>
          <a:prstGeom prst="ellipse">
            <a:avLst/>
          </a:pr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5" name="图形 2"/>
          <p:cNvPicPr>
            <a:picLocks noChangeAspect="1"/>
          </p:cNvPicPr>
          <p:nvPr/>
        </p:nvPicPr>
        <p:blipFill>
          <a:blip r:embed="rId1">
            <a:extLst>
              <a:ext uri="{28A0092B-C50C-407E-A947-70E740481C1C}">
                <a14:useLocalDpi xmlns:a14="http://schemas.microsoft.com/office/drawing/2010/main" val="0"/>
              </a:ext>
            </a:extLst>
          </a:blip>
          <a:srcRect/>
          <a:stretch>
            <a:fillRect/>
          </a:stretch>
        </p:blipFill>
        <p:spPr>
          <a:xfrm>
            <a:off x="-665707" y="3387563"/>
            <a:ext cx="14099481" cy="3914980"/>
          </a:xfrm>
          <a:prstGeom prst="rect">
            <a:avLst/>
          </a:prstGeom>
        </p:spPr>
      </p:pic>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4" name="íśľiḓé"/>
          <p:cNvSpPr txBox="1"/>
          <p:nvPr/>
        </p:nvSpPr>
        <p:spPr>
          <a:xfrm>
            <a:off x="4898682" y="588422"/>
            <a:ext cx="6546850" cy="1107996"/>
          </a:xfrm>
          <a:prstGeom prst="rect">
            <a:avLst/>
          </a:prstGeom>
          <a:noFill/>
        </p:spPr>
        <p:txBody>
          <a:bodyPr wrap="square" rtlCol="0" anchor="t">
            <a:spAutoFit/>
          </a:bodyPr>
          <a:lstStyle/>
          <a:p>
            <a:pPr algn="r">
              <a:defRPr/>
            </a:pPr>
            <a:r>
              <a:rPr lang="zh-CN" altLang="en-US" sz="6600" b="1" dirty="0">
                <a:solidFill>
                  <a:srgbClr val="0070C0"/>
                </a:solidFill>
                <a:latin typeface="Arial" panose="020B0604020202020204"/>
                <a:ea typeface="微软雅黑" panose="020B0503020204020204" pitchFamily="34" charset="-122"/>
              </a:rPr>
              <a:t>谢谢观看</a:t>
            </a:r>
            <a:endParaRPr lang="zh-CN" altLang="zh-CN" sz="6600" b="1" dirty="0">
              <a:solidFill>
                <a:srgbClr val="0070C0"/>
              </a:solidFill>
              <a:latin typeface="Arial" panose="020B0604020202020204"/>
              <a:ea typeface="微软雅黑" panose="020B0503020204020204" pitchFamily="34" charset="-122"/>
            </a:endParaRPr>
          </a:p>
        </p:txBody>
      </p:sp>
      <p:sp>
        <p:nvSpPr>
          <p:cNvPr id="16" name="ïSľïde"/>
          <p:cNvSpPr txBox="1"/>
          <p:nvPr/>
        </p:nvSpPr>
        <p:spPr>
          <a:xfrm>
            <a:off x="6105450" y="1615680"/>
            <a:ext cx="5247134" cy="482600"/>
          </a:xfrm>
          <a:prstGeom prst="rect">
            <a:avLst/>
          </a:prstGeom>
        </p:spPr>
        <p:txBody>
          <a:bodyPr vert="horz" lIns="91440" tIns="45720" rIns="91440" bIns="45720" rtlCol="0" anchor="b">
            <a:normAutofit fontScale="97500"/>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defRPr/>
            </a:pPr>
            <a:r>
              <a:rPr kumimoji="0" lang="en-US" altLang="zh-CN" sz="2200" i="0" u="none" strike="noStrike" kern="1200" cap="none" spc="0" normalizeH="0" baseline="0" noProof="0" dirty="0">
                <a:ln>
                  <a:noFill/>
                </a:ln>
                <a:solidFill>
                  <a:srgbClr val="0070C0"/>
                </a:solidFill>
                <a:effectLst/>
                <a:uLnTx/>
                <a:uFillTx/>
                <a:ea typeface="微软雅黑" panose="020B0503020204020204" pitchFamily="34" charset="-122"/>
                <a:cs typeface="+mj-cs"/>
              </a:rPr>
              <a:t>THANKS</a:t>
            </a:r>
            <a:endParaRPr kumimoji="0" lang="en-US" altLang="zh-CN" sz="2200" i="0" u="none" strike="noStrike" kern="1200" cap="none" spc="0" normalizeH="0" baseline="0" noProof="0" dirty="0">
              <a:ln>
                <a:noFill/>
              </a:ln>
              <a:solidFill>
                <a:srgbClr val="0070C0"/>
              </a:solidFill>
              <a:effectLst/>
              <a:uLnTx/>
              <a:uFillTx/>
              <a:ea typeface="微软雅黑" panose="020B0503020204020204" pitchFamily="34" charset="-122"/>
              <a:cs typeface="+mj-cs"/>
            </a:endParaRPr>
          </a:p>
        </p:txBody>
      </p:sp>
      <p:sp>
        <p:nvSpPr>
          <p:cNvPr id="17" name="文本占位符 7"/>
          <p:cNvSpPr txBox="1"/>
          <p:nvPr/>
        </p:nvSpPr>
        <p:spPr>
          <a:xfrm>
            <a:off x="9696657" y="3840238"/>
            <a:ext cx="2495343" cy="2962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400">
              <a:buNone/>
              <a:defRPr/>
            </a:pPr>
            <a:r>
              <a:rPr lang="zh-CN" altLang="zh-CN" sz="1600" dirty="0">
                <a:solidFill>
                  <a:srgbClr val="0070C0"/>
                </a:solidFill>
                <a:latin typeface="Arial" panose="020B0604020202020204"/>
                <a:ea typeface="微软雅黑" panose="020B0503020204020204" pitchFamily="34" charset="-122"/>
                <a:cs typeface="+mj-cs"/>
              </a:rPr>
              <a:t>汇报人 </a:t>
            </a:r>
            <a:r>
              <a:rPr lang="zh-CN" altLang="en-US" sz="1600" dirty="0">
                <a:solidFill>
                  <a:srgbClr val="0070C0"/>
                </a:solidFill>
                <a:latin typeface="Arial" panose="020B0604020202020204"/>
                <a:ea typeface="微软雅黑" panose="020B0503020204020204" pitchFamily="34" charset="-122"/>
                <a:cs typeface="+mj-cs"/>
              </a:rPr>
              <a:t>：</a:t>
            </a:r>
            <a:r>
              <a:rPr lang="zh-CN" altLang="en-US" sz="1600" dirty="0">
                <a:solidFill>
                  <a:srgbClr val="0070C0"/>
                </a:solidFill>
                <a:latin typeface="Arial" panose="020B0604020202020204"/>
                <a:ea typeface="微软雅黑" panose="020B0503020204020204" pitchFamily="34" charset="-122"/>
                <a:cs typeface="+mj-cs"/>
              </a:rPr>
              <a:t>某某某</a:t>
            </a:r>
            <a:endParaRPr lang="zh-CN" altLang="en-US" sz="1600" dirty="0">
              <a:solidFill>
                <a:srgbClr val="0070C0"/>
              </a:solidFill>
              <a:latin typeface="Arial" panose="020B0604020202020204"/>
              <a:ea typeface="微软雅黑" panose="020B0503020204020204" pitchFamily="34" charset="-122"/>
              <a:cs typeface="+mj-cs"/>
            </a:endParaRPr>
          </a:p>
        </p:txBody>
      </p:sp>
      <p:sp>
        <p:nvSpPr>
          <p:cNvPr id="18" name="文本占位符 6"/>
          <p:cNvSpPr txBox="1"/>
          <p:nvPr/>
        </p:nvSpPr>
        <p:spPr>
          <a:xfrm>
            <a:off x="9689757" y="4212849"/>
            <a:ext cx="1755775" cy="296271"/>
          </a:xfrm>
          <a:prstGeom prst="rect">
            <a:avLst/>
          </a:prstGeom>
        </p:spPr>
        <p:txBody>
          <a:bodyPr vert="horz" wrap="none"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lang="zh-CN" altLang="en-US" sz="1000" b="0" kern="1200" dirty="0" smtClean="0">
                <a:ln>
                  <a:noFill/>
                </a:ln>
                <a:solidFill>
                  <a:schemeClr val="tx1"/>
                </a:solidFill>
                <a:latin typeface="+mj-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zh-CN" altLang="en-US"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日期：</a:t>
            </a:r>
            <a:r>
              <a:rPr kumimoji="0" lang="en-US" altLang="zh-CN"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 </a:t>
            </a:r>
            <a:r>
              <a:rPr kumimoji="0"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年</a:t>
            </a:r>
            <a:r>
              <a:rPr kumimoji="0" lang="en-US" altLang="zh-CN"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  </a:t>
            </a:r>
            <a:r>
              <a:rPr kumimoji="0"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月</a:t>
            </a:r>
            <a:r>
              <a:rPr kumimoji="0" lang="en-US" altLang="zh-CN"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  </a:t>
            </a:r>
            <a:r>
              <a:rPr kumimoji="0"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rPr>
              <a:t>日</a:t>
            </a:r>
            <a:endParaRPr kumimoji="0" sz="1600" u="none" strike="noStrike" kern="1200" cap="none" spc="0" normalizeH="0" baseline="0" noProof="0" dirty="0">
              <a:ln>
                <a:noFill/>
              </a:ln>
              <a:solidFill>
                <a:srgbClr val="0070C0"/>
              </a:solidFill>
              <a:effectLst/>
              <a:uLnTx/>
              <a:uFillTx/>
              <a:latin typeface="Arial" panose="020B0604020202020204"/>
              <a:ea typeface="微软雅黑" panose="020B0503020204020204" pitchFamily="34" charset="-122"/>
              <a:cs typeface="+mj-cs"/>
            </a:endParaRPr>
          </a:p>
        </p:txBody>
      </p:sp>
      <p:sp>
        <p:nvSpPr>
          <p:cNvPr id="9" name="文本占位符 7"/>
          <p:cNvSpPr txBox="1"/>
          <p:nvPr/>
        </p:nvSpPr>
        <p:spPr>
          <a:xfrm>
            <a:off x="9696657" y="3484530"/>
            <a:ext cx="2495343" cy="2962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400">
              <a:buNone/>
              <a:defRPr/>
            </a:pPr>
            <a:r>
              <a:rPr lang="zh-CN" altLang="en-US" sz="1600" dirty="0">
                <a:solidFill>
                  <a:srgbClr val="0070C0"/>
                </a:solidFill>
                <a:latin typeface="Arial" panose="020B0604020202020204"/>
                <a:ea typeface="微软雅黑" panose="020B0503020204020204" pitchFamily="34" charset="-122"/>
                <a:cs typeface="+mj-cs"/>
              </a:rPr>
              <a:t>部门</a:t>
            </a:r>
            <a:r>
              <a:rPr lang="zh-CN" altLang="zh-CN" sz="1600" dirty="0">
                <a:solidFill>
                  <a:srgbClr val="0070C0"/>
                </a:solidFill>
                <a:latin typeface="Arial" panose="020B0604020202020204"/>
                <a:ea typeface="微软雅黑" panose="020B0503020204020204" pitchFamily="34" charset="-122"/>
                <a:cs typeface="+mj-cs"/>
              </a:rPr>
              <a:t> </a:t>
            </a:r>
            <a:r>
              <a:rPr lang="zh-CN" altLang="en-US" sz="1600" dirty="0">
                <a:solidFill>
                  <a:srgbClr val="0070C0"/>
                </a:solidFill>
                <a:latin typeface="Arial" panose="020B0604020202020204"/>
                <a:ea typeface="微软雅黑" panose="020B0503020204020204" pitchFamily="34" charset="-122"/>
                <a:cs typeface="+mj-cs"/>
              </a:rPr>
              <a:t>：虚拟部门</a:t>
            </a:r>
            <a:endParaRPr lang="en-US" altLang="zh-CN" sz="1600" dirty="0">
              <a:solidFill>
                <a:srgbClr val="0070C0"/>
              </a:solidFill>
              <a:latin typeface="Arial" panose="020B0604020202020204"/>
              <a:ea typeface="微软雅黑" panose="020B0503020204020204" pitchFamily="34" charset="-122"/>
              <a:cs typeface="+mj-cs"/>
            </a:endParaRPr>
          </a:p>
        </p:txBody>
      </p:sp>
      <p:pic>
        <p:nvPicPr>
          <p:cNvPr id="10" name="图形 9"/>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7659" y="588422"/>
            <a:ext cx="2939927" cy="656177"/>
          </a:xfrm>
          <a:prstGeom prst="rect">
            <a:avLst/>
          </a:prstGeom>
        </p:spPr>
      </p:pic>
      <p:sp>
        <p:nvSpPr>
          <p:cNvPr id="13" name="任意多边形: 形状 12"/>
          <p:cNvSpPr/>
          <p:nvPr/>
        </p:nvSpPr>
        <p:spPr>
          <a:xfrm>
            <a:off x="0" y="5450748"/>
            <a:ext cx="1409700" cy="1407254"/>
          </a:xfrm>
          <a:custGeom>
            <a:avLst/>
            <a:gdLst>
              <a:gd name="connsiteX0" fmla="*/ 22977 w 951094"/>
              <a:gd name="connsiteY0" fmla="*/ 0 h 949443"/>
              <a:gd name="connsiteX1" fmla="*/ 951094 w 951094"/>
              <a:gd name="connsiteY1" fmla="*/ 928117 h 949443"/>
              <a:gd name="connsiteX2" fmla="*/ 948944 w 951094"/>
              <a:gd name="connsiteY2" fmla="*/ 949443 h 949443"/>
              <a:gd name="connsiteX3" fmla="*/ 0 w 951094"/>
              <a:gd name="connsiteY3" fmla="*/ 949443 h 949443"/>
              <a:gd name="connsiteX4" fmla="*/ 0 w 951094"/>
              <a:gd name="connsiteY4" fmla="*/ 1160 h 949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094" h="949443">
                <a:moveTo>
                  <a:pt x="22977" y="0"/>
                </a:moveTo>
                <a:cubicBezTo>
                  <a:pt x="535562" y="0"/>
                  <a:pt x="951094" y="415532"/>
                  <a:pt x="951094" y="928117"/>
                </a:cubicBezTo>
                <a:lnTo>
                  <a:pt x="948944" y="949443"/>
                </a:lnTo>
                <a:lnTo>
                  <a:pt x="0" y="949443"/>
                </a:lnTo>
                <a:lnTo>
                  <a:pt x="0" y="1160"/>
                </a:lnTo>
                <a:close/>
              </a:path>
            </a:pathLst>
          </a:cu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Tree>
    <p:custDataLst>
      <p:tags r:id="rId6"/>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椭圆 5"/>
          <p:cNvSpPr/>
          <p:nvPr/>
        </p:nvSpPr>
        <p:spPr>
          <a:xfrm>
            <a:off x="9315450" y="682011"/>
            <a:ext cx="1190171" cy="1190171"/>
          </a:xfrm>
          <a:prstGeom prst="ellipse">
            <a:avLst/>
          </a:pr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任意多边形 25"/>
          <p:cNvSpPr/>
          <p:nvPr/>
        </p:nvSpPr>
        <p:spPr>
          <a:xfrm rot="18900000">
            <a:off x="7465108" y="4921406"/>
            <a:ext cx="4998144" cy="1266070"/>
          </a:xfrm>
          <a:custGeom>
            <a:avLst/>
            <a:gdLst>
              <a:gd name="connsiteX0" fmla="*/ 4812732 w 4998144"/>
              <a:gd name="connsiteY0" fmla="*/ 185412 h 1266070"/>
              <a:gd name="connsiteX1" fmla="*/ 4998144 w 4998144"/>
              <a:gd name="connsiteY1" fmla="*/ 633035 h 1266070"/>
              <a:gd name="connsiteX2" fmla="*/ 4998143 w 4998144"/>
              <a:gd name="connsiteY2" fmla="*/ 633035 h 1266070"/>
              <a:gd name="connsiteX3" fmla="*/ 4365108 w 4998144"/>
              <a:gd name="connsiteY3" fmla="*/ 1266070 h 1266070"/>
              <a:gd name="connsiteX4" fmla="*/ 1266069 w 4998144"/>
              <a:gd name="connsiteY4" fmla="*/ 1266069 h 1266070"/>
              <a:gd name="connsiteX5" fmla="*/ 0 w 4998144"/>
              <a:gd name="connsiteY5" fmla="*/ 0 h 1266070"/>
              <a:gd name="connsiteX6" fmla="*/ 4365109 w 4998144"/>
              <a:gd name="connsiteY6" fmla="*/ 0 h 1266070"/>
              <a:gd name="connsiteX7" fmla="*/ 4812732 w 4998144"/>
              <a:gd name="connsiteY7" fmla="*/ 185412 h 126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144" h="1266070">
                <a:moveTo>
                  <a:pt x="4812732" y="185412"/>
                </a:moveTo>
                <a:cubicBezTo>
                  <a:pt x="4927289" y="299968"/>
                  <a:pt x="4998144" y="458227"/>
                  <a:pt x="4998144" y="633035"/>
                </a:cubicBezTo>
                <a:lnTo>
                  <a:pt x="4998143" y="633035"/>
                </a:lnTo>
                <a:cubicBezTo>
                  <a:pt x="4998143" y="982651"/>
                  <a:pt x="4714724" y="1266070"/>
                  <a:pt x="4365108" y="1266070"/>
                </a:cubicBezTo>
                <a:lnTo>
                  <a:pt x="1266069" y="1266069"/>
                </a:lnTo>
                <a:lnTo>
                  <a:pt x="0" y="0"/>
                </a:lnTo>
                <a:lnTo>
                  <a:pt x="4365109" y="0"/>
                </a:lnTo>
                <a:cubicBezTo>
                  <a:pt x="4539917" y="0"/>
                  <a:pt x="4698176" y="70855"/>
                  <a:pt x="4812732" y="185412"/>
                </a:cubicBezTo>
                <a:close/>
              </a:path>
            </a:pathLst>
          </a:cu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sp>
        <p:nvSpPr>
          <p:cNvPr id="27" name="任意多边形 26"/>
          <p:cNvSpPr/>
          <p:nvPr/>
        </p:nvSpPr>
        <p:spPr>
          <a:xfrm>
            <a:off x="0" y="2554194"/>
            <a:ext cx="3169780" cy="4303807"/>
          </a:xfrm>
          <a:custGeom>
            <a:avLst/>
            <a:gdLst>
              <a:gd name="connsiteX0" fmla="*/ 2191131 w 3169780"/>
              <a:gd name="connsiteY0" fmla="*/ 0 h 4303807"/>
              <a:gd name="connsiteX1" fmla="*/ 2883141 w 3169780"/>
              <a:gd name="connsiteY1" fmla="*/ 286640 h 4303807"/>
              <a:gd name="connsiteX2" fmla="*/ 2883141 w 3169780"/>
              <a:gd name="connsiteY2" fmla="*/ 1670660 h 4303807"/>
              <a:gd name="connsiteX3" fmla="*/ 249993 w 3169780"/>
              <a:gd name="connsiteY3" fmla="*/ 4303807 h 4303807"/>
              <a:gd name="connsiteX4" fmla="*/ 0 w 3169780"/>
              <a:gd name="connsiteY4" fmla="*/ 4303807 h 4303807"/>
              <a:gd name="connsiteX5" fmla="*/ 0 w 3169780"/>
              <a:gd name="connsiteY5" fmla="*/ 1785760 h 4303807"/>
              <a:gd name="connsiteX6" fmla="*/ 1499120 w 3169780"/>
              <a:gd name="connsiteY6" fmla="*/ 286640 h 4303807"/>
              <a:gd name="connsiteX7" fmla="*/ 2191131 w 3169780"/>
              <a:gd name="connsiteY7" fmla="*/ 0 h 4303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9780" h="4303807">
                <a:moveTo>
                  <a:pt x="2191131" y="0"/>
                </a:moveTo>
                <a:cubicBezTo>
                  <a:pt x="2441589" y="0"/>
                  <a:pt x="2692048" y="95547"/>
                  <a:pt x="2883141" y="286640"/>
                </a:cubicBezTo>
                <a:cubicBezTo>
                  <a:pt x="3265327" y="668826"/>
                  <a:pt x="3265327" y="1288474"/>
                  <a:pt x="2883141" y="1670660"/>
                </a:cubicBezTo>
                <a:lnTo>
                  <a:pt x="249993" y="4303807"/>
                </a:lnTo>
                <a:lnTo>
                  <a:pt x="0" y="4303807"/>
                </a:lnTo>
                <a:lnTo>
                  <a:pt x="0" y="1785760"/>
                </a:lnTo>
                <a:lnTo>
                  <a:pt x="1499120" y="286640"/>
                </a:lnTo>
                <a:cubicBezTo>
                  <a:pt x="1690213" y="95547"/>
                  <a:pt x="1940672" y="0"/>
                  <a:pt x="2191131" y="0"/>
                </a:cubicBez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8" name="任意多边形 27"/>
          <p:cNvSpPr/>
          <p:nvPr/>
        </p:nvSpPr>
        <p:spPr>
          <a:xfrm>
            <a:off x="5649231" y="0"/>
            <a:ext cx="3446761" cy="2554194"/>
          </a:xfrm>
          <a:custGeom>
            <a:avLst/>
            <a:gdLst>
              <a:gd name="connsiteX0" fmla="*/ 1016357 w 2108259"/>
              <a:gd name="connsiteY0" fmla="*/ 0 h 1562308"/>
              <a:gd name="connsiteX1" fmla="*/ 2108259 w 2108259"/>
              <a:gd name="connsiteY1" fmla="*/ 0 h 1562308"/>
              <a:gd name="connsiteX2" fmla="*/ 659020 w 2108259"/>
              <a:gd name="connsiteY2" fmla="*/ 1449238 h 1562308"/>
              <a:gd name="connsiteX3" fmla="*/ 113069 w 2108259"/>
              <a:gd name="connsiteY3" fmla="*/ 1449238 h 1562308"/>
              <a:gd name="connsiteX4" fmla="*/ 113070 w 2108259"/>
              <a:gd name="connsiteY4" fmla="*/ 1449239 h 1562308"/>
              <a:gd name="connsiteX5" fmla="*/ 113070 w 2108259"/>
              <a:gd name="connsiteY5" fmla="*/ 903287 h 156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8259" h="1562308">
                <a:moveTo>
                  <a:pt x="1016357" y="0"/>
                </a:moveTo>
                <a:lnTo>
                  <a:pt x="2108259" y="0"/>
                </a:lnTo>
                <a:lnTo>
                  <a:pt x="659020" y="1449238"/>
                </a:lnTo>
                <a:cubicBezTo>
                  <a:pt x="508260" y="1599998"/>
                  <a:pt x="263829" y="1599998"/>
                  <a:pt x="113069" y="1449238"/>
                </a:cubicBezTo>
                <a:lnTo>
                  <a:pt x="113070" y="1449239"/>
                </a:lnTo>
                <a:cubicBezTo>
                  <a:pt x="-37690" y="1298479"/>
                  <a:pt x="-37690" y="1054048"/>
                  <a:pt x="113070" y="903287"/>
                </a:cubicBezTo>
                <a:close/>
              </a:path>
            </a:pathLst>
          </a:cu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PictureMisc"/>
          <p:cNvSpPr/>
          <p:nvPr/>
        </p:nvSpPr>
        <p:spPr>
          <a:xfrm>
            <a:off x="423108" y="1371556"/>
            <a:ext cx="4682292" cy="4682292"/>
          </a:xfrm>
          <a:prstGeom prst="ellipse">
            <a:avLst/>
          </a:prstGeom>
          <a:blipFill>
            <a:blip r:embed="rId1">
              <a:extLst>
                <a:ext uri="{28A0092B-C50C-407E-A947-70E740481C1C}">
                  <a14:useLocalDpi xmlns:a14="http://schemas.microsoft.com/office/drawing/2010/main" val="0"/>
                </a:ext>
              </a:extLst>
            </a:blip>
            <a:srcRect/>
            <a:stretch>
              <a:fillRect l="-29824" r="-33091"/>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solidFill>
                <a:schemeClr val="lt1"/>
              </a:solidFill>
            </a:endParaRPr>
          </a:p>
        </p:txBody>
      </p:sp>
      <p:sp>
        <p:nvSpPr>
          <p:cNvPr id="29" name="Title"/>
          <p:cNvSpPr txBox="1"/>
          <p:nvPr/>
        </p:nvSpPr>
        <p:spPr>
          <a:xfrm>
            <a:off x="5208767" y="1130300"/>
            <a:ext cx="6310133" cy="1423894"/>
          </a:xfrm>
          <a:prstGeom prst="rect">
            <a:avLst/>
          </a:prstGeom>
          <a:noFill/>
          <a:ln>
            <a:noFill/>
          </a:ln>
        </p:spPr>
        <p:txBody>
          <a:bodyPr wrap="square">
            <a:normAutofit/>
          </a:bodyPr>
          <a:lstStyle/>
          <a:p>
            <a:pPr marL="0" marR="0" lvl="0" indent="0" algn="r" defTabSz="913765" rtl="0" eaLnBrk="1" fontAlgn="auto" latinLnBrk="0" hangingPunct="1">
              <a:spcBef>
                <a:spcPts val="0"/>
              </a:spcBef>
              <a:spcAft>
                <a:spcPts val="0"/>
              </a:spcAft>
              <a:buClrTx/>
              <a:buSzPct val="25000"/>
              <a:buFontTx/>
              <a:buNone/>
              <a:defRPr/>
            </a:pPr>
            <a:r>
              <a:rPr kumimoji="0" lang="zh-CN" altLang="en-US" sz="6000" b="1" i="0" u="none" strike="noStrike" kern="1200" cap="none" spc="0" normalizeH="0" baseline="0" noProof="0" dirty="0">
                <a:ln>
                  <a:noFill/>
                </a:ln>
                <a:effectLst/>
                <a:uLnTx/>
                <a:uFillTx/>
              </a:rPr>
              <a:t>目录</a:t>
            </a:r>
            <a:endParaRPr kumimoji="0" lang="en-US" altLang="zh-CN" sz="6000" b="1" i="0" u="none" strike="noStrike" kern="1200" cap="none" spc="0" normalizeH="0" baseline="0" noProof="0" dirty="0">
              <a:ln>
                <a:noFill/>
              </a:ln>
              <a:effectLst/>
              <a:uLnTx/>
              <a:uFillTx/>
            </a:endParaRPr>
          </a:p>
        </p:txBody>
      </p:sp>
      <p:sp>
        <p:nvSpPr>
          <p:cNvPr id="9" name="Bullet1"/>
          <p:cNvSpPr txBox="1"/>
          <p:nvPr>
            <p:custDataLst>
              <p:tags r:id="rId2"/>
            </p:custDataLst>
          </p:nvPr>
        </p:nvSpPr>
        <p:spPr>
          <a:xfrm>
            <a:off x="5685093" y="3541904"/>
            <a:ext cx="2616200" cy="740617"/>
          </a:xfrm>
          <a:prstGeom prst="rect">
            <a:avLst/>
          </a:prstGeom>
          <a:noFill/>
          <a:effectLst/>
        </p:spPr>
        <p:txBody>
          <a:bodyPr wrap="square" rtlCol="0" anchor="t" anchorCtr="0">
            <a:norm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zh-CN" altLang="en-US" sz="1800" dirty="0">
                <a:solidFill>
                  <a:schemeClr val="tx1"/>
                </a:solidFill>
                <a:effectLst/>
              </a:rPr>
              <a:t>单击此处添加</a:t>
            </a:r>
            <a:r>
              <a:rPr lang="zh-CN" altLang="en-US" sz="1800" dirty="0">
                <a:solidFill>
                  <a:schemeClr val="tx1"/>
                </a:solidFill>
                <a:effectLst/>
              </a:rPr>
              <a:t>标题</a:t>
            </a:r>
            <a:endParaRPr lang="zh-CN" altLang="en-US" sz="1800" dirty="0">
              <a:solidFill>
                <a:schemeClr val="tx1"/>
              </a:solidFill>
              <a:effectLst/>
            </a:endParaRPr>
          </a:p>
        </p:txBody>
      </p:sp>
      <p:sp>
        <p:nvSpPr>
          <p:cNvPr id="4" name="Bullet1"/>
          <p:cNvSpPr txBox="1"/>
          <p:nvPr>
            <p:custDataLst>
              <p:tags r:id="rId3"/>
            </p:custDataLst>
          </p:nvPr>
        </p:nvSpPr>
        <p:spPr>
          <a:xfrm>
            <a:off x="5685093" y="3097404"/>
            <a:ext cx="800100" cy="399605"/>
          </a:xfrm>
          <a:prstGeom prst="rect">
            <a:avLst/>
          </a:prstGeom>
          <a:noFill/>
          <a:effectLst/>
        </p:spPr>
        <p:txBody>
          <a:bodyPr wrap="square" rtlCol="0" anchor="b" anchorCtr="0">
            <a:norm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fr-FR" altLang="zh-CN" sz="1800" dirty="0">
                <a:solidFill>
                  <a:schemeClr val="accent1"/>
                </a:solidFill>
                <a:effectLst/>
              </a:rPr>
              <a:t>01.</a:t>
            </a:r>
            <a:endParaRPr lang="en-US" altLang="zh-CN" sz="1800" dirty="0">
              <a:solidFill>
                <a:schemeClr val="accent1"/>
              </a:solidFill>
              <a:effectLst/>
            </a:endParaRPr>
          </a:p>
        </p:txBody>
      </p:sp>
      <p:sp>
        <p:nvSpPr>
          <p:cNvPr id="19" name="Bullet2"/>
          <p:cNvSpPr txBox="1"/>
          <p:nvPr>
            <p:custDataLst>
              <p:tags r:id="rId4"/>
            </p:custDataLst>
          </p:nvPr>
        </p:nvSpPr>
        <p:spPr>
          <a:xfrm>
            <a:off x="8915400" y="3541904"/>
            <a:ext cx="2616200" cy="740617"/>
          </a:xfrm>
          <a:prstGeom prst="rect">
            <a:avLst/>
          </a:prstGeom>
          <a:noFill/>
          <a:effectLst/>
        </p:spPr>
        <p:txBody>
          <a:bodyPr wrap="square" rtlCol="0" anchor="t" anchorCtr="0">
            <a:norm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zh-CN" altLang="en-US" sz="1800" dirty="0">
                <a:solidFill>
                  <a:schemeClr val="tx1"/>
                </a:solidFill>
                <a:effectLst/>
                <a:sym typeface="+mn-ea"/>
              </a:rPr>
              <a:t>单击此处添加标题</a:t>
            </a:r>
            <a:endParaRPr lang="en-US" altLang="zh-CN" sz="1800" dirty="0">
              <a:solidFill>
                <a:schemeClr val="tx1"/>
              </a:solidFill>
              <a:effectLst/>
            </a:endParaRPr>
          </a:p>
        </p:txBody>
      </p:sp>
      <p:sp>
        <p:nvSpPr>
          <p:cNvPr id="12" name="Bullet3"/>
          <p:cNvSpPr txBox="1"/>
          <p:nvPr>
            <p:custDataLst>
              <p:tags r:id="rId5"/>
            </p:custDataLst>
          </p:nvPr>
        </p:nvSpPr>
        <p:spPr>
          <a:xfrm>
            <a:off x="5685093" y="5068033"/>
            <a:ext cx="2616200" cy="740617"/>
          </a:xfrm>
          <a:prstGeom prst="rect">
            <a:avLst/>
          </a:prstGeom>
          <a:noFill/>
          <a:effectLst/>
        </p:spPr>
        <p:txBody>
          <a:bodyPr wrap="square" rtlCol="0" anchor="t" anchorCtr="0">
            <a:norm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zh-CN" altLang="en-US" sz="1800" dirty="0">
                <a:solidFill>
                  <a:schemeClr val="tx1"/>
                </a:solidFill>
                <a:effectLst/>
                <a:sym typeface="+mn-ea"/>
              </a:rPr>
              <a:t>单击此处添加标题</a:t>
            </a:r>
            <a:endParaRPr lang="en-US" altLang="zh-CN" sz="1800" dirty="0">
              <a:solidFill>
                <a:schemeClr val="tx1"/>
              </a:solidFill>
              <a:effectLst/>
            </a:endParaRPr>
          </a:p>
        </p:txBody>
      </p:sp>
      <p:sp>
        <p:nvSpPr>
          <p:cNvPr id="22" name="Bullet4"/>
          <p:cNvSpPr txBox="1"/>
          <p:nvPr>
            <p:custDataLst>
              <p:tags r:id="rId6"/>
            </p:custDataLst>
          </p:nvPr>
        </p:nvSpPr>
        <p:spPr>
          <a:xfrm>
            <a:off x="8915400" y="5068033"/>
            <a:ext cx="2616200" cy="740617"/>
          </a:xfrm>
          <a:prstGeom prst="rect">
            <a:avLst/>
          </a:prstGeom>
          <a:noFill/>
          <a:effectLst/>
        </p:spPr>
        <p:txBody>
          <a:bodyPr wrap="square" rtlCol="0" anchor="t" anchorCtr="0">
            <a:norm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zh-CN" altLang="en-US" sz="1800" dirty="0">
                <a:solidFill>
                  <a:schemeClr val="tx1"/>
                </a:solidFill>
                <a:effectLst/>
                <a:sym typeface="+mn-ea"/>
              </a:rPr>
              <a:t>单击此处添加标题</a:t>
            </a:r>
            <a:endParaRPr lang="en-US" altLang="zh-CN" sz="1800" dirty="0">
              <a:solidFill>
                <a:schemeClr val="tx1"/>
              </a:solidFill>
              <a:effectLst/>
            </a:endParaRPr>
          </a:p>
        </p:txBody>
      </p:sp>
      <p:sp>
        <p:nvSpPr>
          <p:cNvPr id="7" name="Bullet2"/>
          <p:cNvSpPr txBox="1"/>
          <p:nvPr>
            <p:custDataLst>
              <p:tags r:id="rId7"/>
            </p:custDataLst>
          </p:nvPr>
        </p:nvSpPr>
        <p:spPr>
          <a:xfrm>
            <a:off x="8915400" y="3097404"/>
            <a:ext cx="800100" cy="399605"/>
          </a:xfrm>
          <a:prstGeom prst="rect">
            <a:avLst/>
          </a:prstGeom>
          <a:noFill/>
          <a:effectLst/>
        </p:spPr>
        <p:txBody>
          <a:bodyPr wrap="square" rtlCol="0" anchor="b" anchorCtr="0">
            <a:norm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fr-FR" altLang="zh-CN" sz="1800" dirty="0">
                <a:solidFill>
                  <a:schemeClr val="accent1"/>
                </a:solidFill>
                <a:effectLst/>
              </a:rPr>
              <a:t>02.</a:t>
            </a:r>
            <a:endParaRPr lang="en-US" altLang="zh-CN" sz="1800" dirty="0">
              <a:solidFill>
                <a:schemeClr val="accent1"/>
              </a:solidFill>
              <a:effectLst/>
            </a:endParaRPr>
          </a:p>
        </p:txBody>
      </p:sp>
      <p:sp>
        <p:nvSpPr>
          <p:cNvPr id="10" name="Bullet3"/>
          <p:cNvSpPr txBox="1"/>
          <p:nvPr>
            <p:custDataLst>
              <p:tags r:id="rId8"/>
            </p:custDataLst>
          </p:nvPr>
        </p:nvSpPr>
        <p:spPr>
          <a:xfrm>
            <a:off x="5685093" y="4623533"/>
            <a:ext cx="800100" cy="399605"/>
          </a:xfrm>
          <a:prstGeom prst="rect">
            <a:avLst/>
          </a:prstGeom>
          <a:noFill/>
          <a:effectLst/>
        </p:spPr>
        <p:txBody>
          <a:bodyPr wrap="square" rtlCol="0" anchor="b" anchorCtr="0">
            <a:norm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fr-FR" altLang="zh-CN" sz="1800" dirty="0">
                <a:solidFill>
                  <a:schemeClr val="accent1"/>
                </a:solidFill>
                <a:effectLst/>
              </a:rPr>
              <a:t>03.</a:t>
            </a:r>
            <a:endParaRPr lang="en-US" altLang="zh-CN" sz="1800" dirty="0">
              <a:solidFill>
                <a:schemeClr val="accent1"/>
              </a:solidFill>
              <a:effectLst/>
            </a:endParaRPr>
          </a:p>
        </p:txBody>
      </p:sp>
      <p:sp>
        <p:nvSpPr>
          <p:cNvPr id="15" name="Bullet4"/>
          <p:cNvSpPr txBox="1"/>
          <p:nvPr>
            <p:custDataLst>
              <p:tags r:id="rId9"/>
            </p:custDataLst>
          </p:nvPr>
        </p:nvSpPr>
        <p:spPr>
          <a:xfrm>
            <a:off x="8915400" y="4623533"/>
            <a:ext cx="800100" cy="399605"/>
          </a:xfrm>
          <a:prstGeom prst="rect">
            <a:avLst/>
          </a:prstGeom>
          <a:noFill/>
          <a:effectLst/>
        </p:spPr>
        <p:txBody>
          <a:bodyPr wrap="square" rtlCol="0" anchor="b" anchorCtr="0">
            <a:norm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r>
              <a:rPr lang="es-ES" altLang="zh-CN" sz="1800" dirty="0">
                <a:solidFill>
                  <a:schemeClr val="accent1"/>
                </a:solidFill>
                <a:effectLst/>
              </a:rPr>
              <a:t>04.</a:t>
            </a:r>
            <a:endParaRPr lang="en-US" altLang="zh-CN" sz="1800" dirty="0">
              <a:solidFill>
                <a:schemeClr val="accent1"/>
              </a:solidFill>
              <a:effectLs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形 2"/>
          <p:cNvPicPr>
            <a:picLocks noChangeAspect="1"/>
          </p:cNvPicPr>
          <p:nvPr/>
        </p:nvPicPr>
        <p:blipFill>
          <a:blip r:embed="rId1">
            <a:extLst>
              <a:ext uri="{28A0092B-C50C-407E-A947-70E740481C1C}">
                <a14:useLocalDpi xmlns:a14="http://schemas.microsoft.com/office/drawing/2010/main" val="0"/>
              </a:ext>
            </a:extLst>
          </a:blip>
          <a:srcRect/>
          <a:stretch>
            <a:fillRect/>
          </a:stretch>
        </p:blipFill>
        <p:spPr>
          <a:xfrm>
            <a:off x="-665707" y="3387563"/>
            <a:ext cx="14099481" cy="3914980"/>
          </a:xfrm>
          <a:prstGeom prst="rect">
            <a:avLst/>
          </a:prstGeom>
        </p:spPr>
      </p:pic>
      <p:sp>
        <p:nvSpPr>
          <p:cNvPr id="3" name="副标题 2"/>
          <p:cNvSpPr>
            <a:spLocks noGrp="1"/>
          </p:cNvSpPr>
          <p:nvPr>
            <p:ph type="subTitle" idx="1"/>
          </p:nvPr>
        </p:nvSpPr>
        <p:spPr>
          <a:xfrm>
            <a:off x="6243903" y="3114469"/>
            <a:ext cx="5173397" cy="558799"/>
          </a:xfrm>
        </p:spPr>
        <p:txBody>
          <a:bodyPr>
            <a:normAutofit lnSpcReduction="20000"/>
          </a:bodyPr>
          <a:lstStyle/>
          <a:p>
            <a:r>
              <a:rPr lang="zh-CN" sz="2800" dirty="0"/>
              <a:t>单</a:t>
            </a:r>
            <a:r>
              <a:rPr sz="2800" dirty="0"/>
              <a:t>击此处添加标题</a:t>
            </a:r>
            <a:endParaRPr sz="2800" dirty="0"/>
          </a:p>
        </p:txBody>
      </p:sp>
      <p:sp>
        <p:nvSpPr>
          <p:cNvPr id="5" name="标题 4"/>
          <p:cNvSpPr>
            <a:spLocks noGrp="1"/>
          </p:cNvSpPr>
          <p:nvPr>
            <p:ph type="ctrTitle" hasCustomPrompt="1"/>
          </p:nvPr>
        </p:nvSpPr>
        <p:spPr>
          <a:xfrm>
            <a:off x="3822701" y="2108708"/>
            <a:ext cx="7594600" cy="809926"/>
          </a:xfrm>
        </p:spPr>
        <p:txBody>
          <a:bodyPr anchor="t">
            <a:noAutofit/>
          </a:bodyPr>
          <a:lstStyle/>
          <a:p>
            <a:r>
              <a:rPr lang="zh-CN" altLang="en-US" sz="5400" dirty="0"/>
              <a:t>单击此处添加标题</a:t>
            </a:r>
            <a:endParaRPr lang="zh-CN" altLang="en-US" sz="5400" dirty="0"/>
          </a:p>
        </p:txBody>
      </p:sp>
      <p:sp>
        <p:nvSpPr>
          <p:cNvPr id="25" name="文本占位符 24"/>
          <p:cNvSpPr>
            <a:spLocks noGrp="1"/>
          </p:cNvSpPr>
          <p:nvPr>
            <p:ph type="body" sz="quarter" idx="10" hasCustomPrompt="1"/>
          </p:nvPr>
        </p:nvSpPr>
        <p:spPr/>
        <p:txBody>
          <a:bodyPr/>
          <a:lstStyle/>
          <a:p>
            <a:r>
              <a:rPr lang="zh-CN" altLang="en-US" dirty="0"/>
              <a:t>有效提升教学效果的策略与技巧</a:t>
            </a:r>
            <a:endParaRPr lang="en-US" dirty="0"/>
          </a:p>
        </p:txBody>
      </p:sp>
      <p:pic>
        <p:nvPicPr>
          <p:cNvPr id="10" name="图形 9"/>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7659" y="588423"/>
            <a:ext cx="2541625" cy="567278"/>
          </a:xfrm>
          <a:prstGeom prst="rect">
            <a:avLst/>
          </a:prstGeom>
        </p:spPr>
      </p:pic>
      <p:sp>
        <p:nvSpPr>
          <p:cNvPr id="12" name="任意多边形: 形状 11"/>
          <p:cNvSpPr/>
          <p:nvPr/>
        </p:nvSpPr>
        <p:spPr>
          <a:xfrm>
            <a:off x="0" y="5450748"/>
            <a:ext cx="1409700" cy="1407254"/>
          </a:xfrm>
          <a:custGeom>
            <a:avLst/>
            <a:gdLst>
              <a:gd name="connsiteX0" fmla="*/ 22977 w 951094"/>
              <a:gd name="connsiteY0" fmla="*/ 0 h 949443"/>
              <a:gd name="connsiteX1" fmla="*/ 951094 w 951094"/>
              <a:gd name="connsiteY1" fmla="*/ 928117 h 949443"/>
              <a:gd name="connsiteX2" fmla="*/ 948944 w 951094"/>
              <a:gd name="connsiteY2" fmla="*/ 949443 h 949443"/>
              <a:gd name="connsiteX3" fmla="*/ 0 w 951094"/>
              <a:gd name="connsiteY3" fmla="*/ 949443 h 949443"/>
              <a:gd name="connsiteX4" fmla="*/ 0 w 951094"/>
              <a:gd name="connsiteY4" fmla="*/ 1160 h 949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094" h="949443">
                <a:moveTo>
                  <a:pt x="22977" y="0"/>
                </a:moveTo>
                <a:cubicBezTo>
                  <a:pt x="535562" y="0"/>
                  <a:pt x="951094" y="415532"/>
                  <a:pt x="951094" y="928117"/>
                </a:cubicBezTo>
                <a:lnTo>
                  <a:pt x="948944" y="949443"/>
                </a:lnTo>
                <a:lnTo>
                  <a:pt x="0" y="949443"/>
                </a:lnTo>
                <a:lnTo>
                  <a:pt x="0" y="1160"/>
                </a:lnTo>
                <a:close/>
              </a:path>
            </a:pathLst>
          </a:cu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13" name="椭圆 12"/>
          <p:cNvSpPr/>
          <p:nvPr/>
        </p:nvSpPr>
        <p:spPr>
          <a:xfrm>
            <a:off x="10198100" y="538636"/>
            <a:ext cx="1219200" cy="1219200"/>
          </a:xfrm>
          <a:prstGeom prst="ellipse">
            <a:avLst/>
          </a:pr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800" b="1" dirty="0"/>
              <a:t>01.</a:t>
            </a:r>
            <a:endParaRPr lang="zh-CN" altLang="en-US" sz="2800" b="1"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Misc"/>
          <p:cNvSpPr/>
          <p:nvPr/>
        </p:nvSpPr>
        <p:spPr>
          <a:xfrm flipH="1">
            <a:off x="660400" y="1722742"/>
            <a:ext cx="3517900" cy="4411358"/>
          </a:xfrm>
          <a:prstGeom prst="round2DiagRect">
            <a:avLst>
              <a:gd name="adj1" fmla="val 14140"/>
              <a:gd name="adj2" fmla="val 0"/>
            </a:avLst>
          </a:prstGeom>
          <a:blipFill>
            <a:blip r:embed="rId1">
              <a:extLst>
                <a:ext uri="{28A0092B-C50C-407E-A947-70E740481C1C}">
                  <a14:useLocalDpi xmlns:a14="http://schemas.microsoft.com/office/drawing/2010/main" val="0"/>
                </a:ext>
              </a:extLst>
            </a:blip>
            <a:stretch>
              <a:fillRect l="-40897" r="-49181"/>
            </a:stretch>
          </a:blipFill>
          <a:ln w="12700" cap="flat">
            <a:noFill/>
            <a:prstDash val="solid"/>
            <a:miter/>
          </a:ln>
          <a:effectLst/>
        </p:spPr>
        <p:txBody>
          <a:bodyPr rtlCol="0" anchor="ctr"/>
          <a:lstStyle/>
          <a:p>
            <a:endParaRPr lang="zh-CN" altLang="en-US" dirty="0">
              <a:solidFill>
                <a:schemeClr val="tx1"/>
              </a:solidFill>
              <a:latin typeface="Arial" panose="020B0604020202020204" pitchFamily="34" charset="0"/>
              <a:ea typeface="微软雅黑" panose="020B0503020204020204" pitchFamily="34" charset="-122"/>
            </a:endParaRPr>
          </a:p>
        </p:txBody>
      </p:sp>
      <p:grpSp>
        <p:nvGrpSpPr>
          <p:cNvPr id="6" name="组合 5"/>
          <p:cNvGrpSpPr/>
          <p:nvPr/>
        </p:nvGrpSpPr>
        <p:grpSpPr>
          <a:xfrm>
            <a:off x="4663548" y="1513548"/>
            <a:ext cx="3413654" cy="1125803"/>
            <a:chOff x="4663548" y="1513548"/>
            <a:chExt cx="3413654" cy="1125803"/>
          </a:xfrm>
        </p:grpSpPr>
        <p:sp>
          <p:nvSpPr>
            <p:cNvPr id="31" name="Number1"/>
            <p:cNvSpPr txBox="1">
              <a:spLocks noChangeAspect="1"/>
            </p:cNvSpPr>
            <p:nvPr/>
          </p:nvSpPr>
          <p:spPr>
            <a:xfrm flipH="1">
              <a:off x="4663548" y="1722742"/>
              <a:ext cx="540000" cy="540000"/>
            </a:xfrm>
            <a:prstGeom prst="roundRect">
              <a:avLst/>
            </a:prstGeom>
            <a:solidFill>
              <a:schemeClr val="accent1"/>
            </a:solidFill>
            <a:ln w="12700" cap="flat">
              <a:noFill/>
              <a:prstDash val="solid"/>
              <a:miter/>
            </a:ln>
            <a:effectLst/>
          </p:spPr>
          <p:txBody>
            <a:bodyPr wrap="none" rtlCol="0" anchor="ctr">
              <a:normAutofit/>
            </a:bodyPr>
            <a:lstStyle>
              <a:defPPr>
                <a:defRPr lang="zh-CN"/>
              </a:defPPr>
              <a:lvl1pPr algn="ctr">
                <a:defRPr b="1">
                  <a:solidFill>
                    <a:srgbClr val="FFFFFF"/>
                  </a:solidFill>
                  <a:latin typeface="Arial" panose="020B0604020202020204" pitchFamily="34" charset="0"/>
                  <a:ea typeface="微软雅黑" panose="020B0503020204020204" pitchFamily="34" charset="-122"/>
                </a:defRPr>
              </a:lvl1pPr>
            </a:lstStyle>
            <a:p>
              <a:r>
                <a:rPr lang="en-US" altLang="zh-CN" sz="1600" dirty="0">
                  <a:latin typeface="+mn-lt"/>
                  <a:ea typeface="+mn-ea"/>
                  <a:sym typeface="Arial" panose="020B0604020202020204" pitchFamily="34" charset="0"/>
                </a:rPr>
                <a:t>01</a:t>
              </a:r>
              <a:endParaRPr lang="zh-CN" altLang="en-US" sz="1600" dirty="0">
                <a:latin typeface="+mn-lt"/>
                <a:ea typeface="+mn-ea"/>
                <a:sym typeface="Arial" panose="020B0604020202020204" pitchFamily="34" charset="0"/>
              </a:endParaRPr>
            </a:p>
          </p:txBody>
        </p:sp>
        <p:sp>
          <p:nvSpPr>
            <p:cNvPr id="32" name="Text1"/>
            <p:cNvSpPr/>
            <p:nvPr/>
          </p:nvSpPr>
          <p:spPr>
            <a:xfrm>
              <a:off x="5444069" y="1972600"/>
              <a:ext cx="2633133" cy="666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zh-CN" altLang="en-US" sz="1200">
                  <a:solidFill>
                    <a:schemeClr val="tx1"/>
                  </a:solidFill>
                  <a:sym typeface="Arial" panose="020B0604020202020204" pitchFamily="34" charset="0"/>
                </a:rPr>
                <a:t>请输入文本</a:t>
              </a:r>
              <a:r>
                <a:rPr kumimoji="1" lang="zh-CN" altLang="en-US" sz="1200">
                  <a:solidFill>
                    <a:schemeClr val="tx1"/>
                  </a:solidFill>
                  <a:sym typeface="Arial" panose="020B0604020202020204" pitchFamily="34" charset="0"/>
                </a:rPr>
                <a:t>内容</a:t>
              </a:r>
              <a:endParaRPr kumimoji="1" lang="zh-CN" altLang="en-US" sz="1200">
                <a:solidFill>
                  <a:schemeClr val="tx1"/>
                </a:solidFill>
                <a:sym typeface="Arial" panose="020B0604020202020204" pitchFamily="34" charset="0"/>
              </a:endParaRPr>
            </a:p>
          </p:txBody>
        </p:sp>
        <p:sp>
          <p:nvSpPr>
            <p:cNvPr id="33" name="Bullet1"/>
            <p:cNvSpPr/>
            <p:nvPr/>
          </p:nvSpPr>
          <p:spPr>
            <a:xfrm>
              <a:off x="5444069" y="1513548"/>
              <a:ext cx="2633133" cy="459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zh-CN" altLang="en-US" b="1" dirty="0">
                  <a:solidFill>
                    <a:schemeClr val="tx1"/>
                  </a:solidFill>
                  <a:sym typeface="Arial" panose="020B0604020202020204" pitchFamily="34" charset="0"/>
                </a:rPr>
                <a:t>单击此处添加标题</a:t>
              </a:r>
              <a:endParaRPr kumimoji="1" lang="en-US" altLang="zh-CN" b="1" dirty="0">
                <a:solidFill>
                  <a:schemeClr val="tx1"/>
                </a:solidFill>
                <a:sym typeface="Arial" panose="020B0604020202020204" pitchFamily="34" charset="0"/>
              </a:endParaRPr>
            </a:p>
          </p:txBody>
        </p:sp>
      </p:grpSp>
      <p:grpSp>
        <p:nvGrpSpPr>
          <p:cNvPr id="7" name="组合 6"/>
          <p:cNvGrpSpPr/>
          <p:nvPr/>
        </p:nvGrpSpPr>
        <p:grpSpPr>
          <a:xfrm>
            <a:off x="4663548" y="2678464"/>
            <a:ext cx="3413654" cy="1125803"/>
            <a:chOff x="4663548" y="2678464"/>
            <a:chExt cx="3413654" cy="1125803"/>
          </a:xfrm>
        </p:grpSpPr>
        <p:sp>
          <p:nvSpPr>
            <p:cNvPr id="28" name="Number2"/>
            <p:cNvSpPr txBox="1">
              <a:spLocks noChangeAspect="1"/>
            </p:cNvSpPr>
            <p:nvPr/>
          </p:nvSpPr>
          <p:spPr>
            <a:xfrm flipH="1">
              <a:off x="4663548" y="2887658"/>
              <a:ext cx="540000" cy="540000"/>
            </a:xfrm>
            <a:prstGeom prst="roundRect">
              <a:avLst/>
            </a:prstGeom>
            <a:solidFill>
              <a:schemeClr val="accent2"/>
            </a:solidFill>
            <a:ln w="12700" cap="flat">
              <a:noFill/>
              <a:prstDash val="solid"/>
              <a:miter/>
            </a:ln>
            <a:effectLst/>
          </p:spPr>
          <p:txBody>
            <a:bodyPr wrap="none" rtlCol="0" anchor="ctr">
              <a:normAutofit/>
            </a:bodyPr>
            <a:lstStyle>
              <a:defPPr>
                <a:defRPr lang="zh-CN"/>
              </a:defPPr>
              <a:lvl1pPr algn="ctr">
                <a:defRPr b="1">
                  <a:solidFill>
                    <a:srgbClr val="FFFFFF"/>
                  </a:solidFill>
                  <a:latin typeface="Arial" panose="020B0604020202020204" pitchFamily="34" charset="0"/>
                  <a:ea typeface="微软雅黑" panose="020B0503020204020204" pitchFamily="34" charset="-122"/>
                </a:defRPr>
              </a:lvl1pPr>
            </a:lstStyle>
            <a:p>
              <a:r>
                <a:rPr lang="en-US" altLang="zh-CN" sz="1600" dirty="0">
                  <a:latin typeface="+mn-lt"/>
                  <a:ea typeface="+mn-ea"/>
                  <a:sym typeface="Arial" panose="020B0604020202020204" pitchFamily="34" charset="0"/>
                </a:rPr>
                <a:t>02</a:t>
              </a:r>
              <a:endParaRPr lang="zh-CN" altLang="en-US" sz="1600" dirty="0">
                <a:latin typeface="+mn-lt"/>
                <a:ea typeface="+mn-ea"/>
                <a:sym typeface="Arial" panose="020B0604020202020204" pitchFamily="34" charset="0"/>
              </a:endParaRPr>
            </a:p>
          </p:txBody>
        </p:sp>
        <p:sp>
          <p:nvSpPr>
            <p:cNvPr id="29" name="Text2"/>
            <p:cNvSpPr/>
            <p:nvPr/>
          </p:nvSpPr>
          <p:spPr>
            <a:xfrm>
              <a:off x="5444069" y="3137516"/>
              <a:ext cx="2633133" cy="666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zh-CN" altLang="en-US" sz="1200">
                  <a:solidFill>
                    <a:schemeClr val="tx1"/>
                  </a:solidFill>
                  <a:sym typeface="Arial" panose="020B0604020202020204" pitchFamily="34" charset="0"/>
                </a:rPr>
                <a:t>请输入文本内容</a:t>
              </a:r>
              <a:endParaRPr kumimoji="1" lang="zh-CN" altLang="en-US" sz="1200">
                <a:solidFill>
                  <a:schemeClr val="tx1"/>
                </a:solidFill>
                <a:sym typeface="Arial" panose="020B0604020202020204" pitchFamily="34" charset="0"/>
              </a:endParaRPr>
            </a:p>
          </p:txBody>
        </p:sp>
        <p:sp>
          <p:nvSpPr>
            <p:cNvPr id="30" name="Bullet2"/>
            <p:cNvSpPr/>
            <p:nvPr/>
          </p:nvSpPr>
          <p:spPr>
            <a:xfrm>
              <a:off x="5444069" y="2678464"/>
              <a:ext cx="2633133" cy="459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zh-CN" altLang="en-US" b="1" dirty="0">
                  <a:solidFill>
                    <a:schemeClr val="tx1"/>
                  </a:solidFill>
                  <a:sym typeface="Arial" panose="020B0604020202020204" pitchFamily="34" charset="0"/>
                </a:rPr>
                <a:t>单击此处添加标题</a:t>
              </a:r>
              <a:endParaRPr kumimoji="1" lang="en-US" altLang="zh-CN" b="1" dirty="0">
                <a:solidFill>
                  <a:schemeClr val="tx1"/>
                </a:solidFill>
                <a:sym typeface="Arial" panose="020B0604020202020204" pitchFamily="34" charset="0"/>
              </a:endParaRPr>
            </a:p>
          </p:txBody>
        </p:sp>
      </p:grpSp>
      <p:grpSp>
        <p:nvGrpSpPr>
          <p:cNvPr id="8" name="组合 7"/>
          <p:cNvGrpSpPr/>
          <p:nvPr/>
        </p:nvGrpSpPr>
        <p:grpSpPr>
          <a:xfrm>
            <a:off x="4663548" y="3843380"/>
            <a:ext cx="3413654" cy="1125803"/>
            <a:chOff x="4663548" y="3843380"/>
            <a:chExt cx="3413654" cy="1125803"/>
          </a:xfrm>
        </p:grpSpPr>
        <p:sp>
          <p:nvSpPr>
            <p:cNvPr id="25" name="Number3"/>
            <p:cNvSpPr txBox="1">
              <a:spLocks noChangeAspect="1"/>
            </p:cNvSpPr>
            <p:nvPr/>
          </p:nvSpPr>
          <p:spPr>
            <a:xfrm flipH="1">
              <a:off x="4663548" y="4052574"/>
              <a:ext cx="540000" cy="540000"/>
            </a:xfrm>
            <a:prstGeom prst="roundRect">
              <a:avLst/>
            </a:prstGeom>
            <a:solidFill>
              <a:schemeClr val="accent3"/>
            </a:solidFill>
            <a:ln w="12700" cap="flat">
              <a:noFill/>
              <a:prstDash val="solid"/>
              <a:miter/>
            </a:ln>
            <a:effectLst/>
          </p:spPr>
          <p:txBody>
            <a:bodyPr wrap="none" rtlCol="0" anchor="ctr">
              <a:normAutofit/>
            </a:bodyPr>
            <a:lstStyle>
              <a:defPPr>
                <a:defRPr lang="zh-CN"/>
              </a:defPPr>
              <a:lvl1pPr algn="ctr">
                <a:defRPr b="1">
                  <a:solidFill>
                    <a:srgbClr val="FFFFFF"/>
                  </a:solidFill>
                  <a:latin typeface="Arial" panose="020B0604020202020204" pitchFamily="34" charset="0"/>
                  <a:ea typeface="微软雅黑" panose="020B0503020204020204" pitchFamily="34" charset="-122"/>
                </a:defRPr>
              </a:lvl1pPr>
            </a:lstStyle>
            <a:p>
              <a:r>
                <a:rPr lang="en-US" altLang="zh-CN" sz="1600" dirty="0">
                  <a:latin typeface="+mn-lt"/>
                  <a:ea typeface="+mn-ea"/>
                  <a:sym typeface="Arial" panose="020B0604020202020204" pitchFamily="34" charset="0"/>
                </a:rPr>
                <a:t>03</a:t>
              </a:r>
              <a:endParaRPr lang="zh-CN" altLang="en-US" sz="1600" dirty="0">
                <a:latin typeface="+mn-lt"/>
                <a:ea typeface="+mn-ea"/>
                <a:sym typeface="Arial" panose="020B0604020202020204" pitchFamily="34" charset="0"/>
              </a:endParaRPr>
            </a:p>
          </p:txBody>
        </p:sp>
        <p:sp>
          <p:nvSpPr>
            <p:cNvPr id="26" name="Text3"/>
            <p:cNvSpPr/>
            <p:nvPr/>
          </p:nvSpPr>
          <p:spPr>
            <a:xfrm>
              <a:off x="5444069" y="4302432"/>
              <a:ext cx="2633133" cy="666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sz="1200">
                  <a:solidFill>
                    <a:schemeClr val="tx1"/>
                  </a:solidFill>
                  <a:sym typeface="Arial" panose="020B0604020202020204" pitchFamily="34" charset="0"/>
                </a:rPr>
                <a:t>请输入文本内容</a:t>
              </a:r>
              <a:endParaRPr kumimoji="1" sz="1200">
                <a:solidFill>
                  <a:schemeClr val="tx1"/>
                </a:solidFill>
                <a:sym typeface="Arial" panose="020B0604020202020204" pitchFamily="34" charset="0"/>
              </a:endParaRPr>
            </a:p>
          </p:txBody>
        </p:sp>
        <p:sp>
          <p:nvSpPr>
            <p:cNvPr id="27" name="Bullet3"/>
            <p:cNvSpPr/>
            <p:nvPr/>
          </p:nvSpPr>
          <p:spPr>
            <a:xfrm>
              <a:off x="5444069" y="3843380"/>
              <a:ext cx="2633133" cy="459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zh-CN" altLang="en-US" b="1" dirty="0">
                  <a:solidFill>
                    <a:schemeClr val="tx1"/>
                  </a:solidFill>
                  <a:sym typeface="Arial" panose="020B0604020202020204" pitchFamily="34" charset="0"/>
                </a:rPr>
                <a:t>单击此处添加标题</a:t>
              </a:r>
              <a:endParaRPr kumimoji="1" lang="en-US" altLang="zh-CN" b="1" dirty="0">
                <a:solidFill>
                  <a:schemeClr val="tx1"/>
                </a:solidFill>
                <a:sym typeface="Arial" panose="020B0604020202020204" pitchFamily="34" charset="0"/>
              </a:endParaRPr>
            </a:p>
          </p:txBody>
        </p:sp>
      </p:grpSp>
      <p:grpSp>
        <p:nvGrpSpPr>
          <p:cNvPr id="9" name="组合 8"/>
          <p:cNvGrpSpPr/>
          <p:nvPr/>
        </p:nvGrpSpPr>
        <p:grpSpPr>
          <a:xfrm>
            <a:off x="4663548" y="5008297"/>
            <a:ext cx="3413654" cy="1125803"/>
            <a:chOff x="4663548" y="5008297"/>
            <a:chExt cx="3413654" cy="1125803"/>
          </a:xfrm>
        </p:grpSpPr>
        <p:sp>
          <p:nvSpPr>
            <p:cNvPr id="22" name="Number4"/>
            <p:cNvSpPr txBox="1">
              <a:spLocks noChangeAspect="1"/>
            </p:cNvSpPr>
            <p:nvPr/>
          </p:nvSpPr>
          <p:spPr>
            <a:xfrm flipH="1">
              <a:off x="4663548" y="5217491"/>
              <a:ext cx="540000" cy="540000"/>
            </a:xfrm>
            <a:prstGeom prst="roundRect">
              <a:avLst/>
            </a:prstGeom>
            <a:solidFill>
              <a:schemeClr val="accent4"/>
            </a:solidFill>
            <a:ln w="12700" cap="flat">
              <a:noFill/>
              <a:prstDash val="solid"/>
              <a:miter/>
            </a:ln>
            <a:effectLst/>
          </p:spPr>
          <p:txBody>
            <a:bodyPr wrap="none" rtlCol="0" anchor="ctr">
              <a:normAutofit/>
            </a:bodyPr>
            <a:lstStyle>
              <a:defPPr>
                <a:defRPr lang="zh-CN"/>
              </a:defPPr>
              <a:lvl1pPr algn="ctr">
                <a:defRPr b="1">
                  <a:solidFill>
                    <a:srgbClr val="FFFFFF"/>
                  </a:solidFill>
                  <a:latin typeface="Arial" panose="020B0604020202020204" pitchFamily="34" charset="0"/>
                  <a:ea typeface="微软雅黑" panose="020B0503020204020204" pitchFamily="34" charset="-122"/>
                </a:defRPr>
              </a:lvl1pPr>
            </a:lstStyle>
            <a:p>
              <a:r>
                <a:rPr lang="en-US" altLang="zh-CN" sz="1600" dirty="0">
                  <a:latin typeface="+mn-lt"/>
                  <a:ea typeface="+mn-ea"/>
                  <a:sym typeface="Arial" panose="020B0604020202020204" pitchFamily="34" charset="0"/>
                </a:rPr>
                <a:t>04</a:t>
              </a:r>
              <a:endParaRPr lang="zh-CN" altLang="en-US" sz="1600" dirty="0">
                <a:latin typeface="+mn-lt"/>
                <a:ea typeface="+mn-ea"/>
                <a:sym typeface="Arial" panose="020B0604020202020204" pitchFamily="34" charset="0"/>
              </a:endParaRPr>
            </a:p>
          </p:txBody>
        </p:sp>
        <p:sp>
          <p:nvSpPr>
            <p:cNvPr id="23" name="Text4"/>
            <p:cNvSpPr/>
            <p:nvPr/>
          </p:nvSpPr>
          <p:spPr>
            <a:xfrm>
              <a:off x="5444069" y="5467349"/>
              <a:ext cx="2633133" cy="666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sz="1200">
                  <a:solidFill>
                    <a:schemeClr val="tx1"/>
                  </a:solidFill>
                  <a:sym typeface="Arial" panose="020B0604020202020204" pitchFamily="34" charset="0"/>
                </a:rPr>
                <a:t>请输入文本内容</a:t>
              </a:r>
              <a:endParaRPr kumimoji="1" sz="1200">
                <a:solidFill>
                  <a:schemeClr val="tx1"/>
                </a:solidFill>
                <a:sym typeface="Arial" panose="020B0604020202020204" pitchFamily="34" charset="0"/>
              </a:endParaRPr>
            </a:p>
          </p:txBody>
        </p:sp>
        <p:sp>
          <p:nvSpPr>
            <p:cNvPr id="24" name="Bullet4"/>
            <p:cNvSpPr/>
            <p:nvPr/>
          </p:nvSpPr>
          <p:spPr>
            <a:xfrm>
              <a:off x="5444069" y="5008297"/>
              <a:ext cx="2633133" cy="459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zh-CN" altLang="en-US" b="1" dirty="0">
                  <a:solidFill>
                    <a:schemeClr val="tx1"/>
                  </a:solidFill>
                  <a:sym typeface="Arial" panose="020B0604020202020204" pitchFamily="34" charset="0"/>
                </a:rPr>
                <a:t>单击此处添加标题</a:t>
              </a:r>
              <a:endParaRPr kumimoji="1" lang="en-US" altLang="zh-CN" b="1" dirty="0">
                <a:solidFill>
                  <a:schemeClr val="tx1"/>
                </a:solidFill>
                <a:sym typeface="Arial" panose="020B0604020202020204" pitchFamily="34" charset="0"/>
              </a:endParaRPr>
            </a:p>
          </p:txBody>
        </p:sp>
      </p:grpSp>
      <p:grpSp>
        <p:nvGrpSpPr>
          <p:cNvPr id="10" name="组合 9"/>
          <p:cNvGrpSpPr/>
          <p:nvPr/>
        </p:nvGrpSpPr>
        <p:grpSpPr>
          <a:xfrm>
            <a:off x="8105246" y="1904382"/>
            <a:ext cx="3413654" cy="1125803"/>
            <a:chOff x="8105246" y="1513548"/>
            <a:chExt cx="3413654" cy="1125803"/>
          </a:xfrm>
        </p:grpSpPr>
        <p:sp>
          <p:nvSpPr>
            <p:cNvPr id="19" name="Number5"/>
            <p:cNvSpPr txBox="1">
              <a:spLocks noChangeAspect="1"/>
            </p:cNvSpPr>
            <p:nvPr/>
          </p:nvSpPr>
          <p:spPr>
            <a:xfrm flipH="1">
              <a:off x="8105246" y="1722742"/>
              <a:ext cx="540000" cy="540000"/>
            </a:xfrm>
            <a:prstGeom prst="roundRect">
              <a:avLst/>
            </a:prstGeom>
            <a:solidFill>
              <a:schemeClr val="accent4"/>
            </a:solidFill>
            <a:ln w="12700" cap="flat">
              <a:noFill/>
              <a:prstDash val="solid"/>
              <a:miter/>
            </a:ln>
            <a:effectLst/>
          </p:spPr>
          <p:txBody>
            <a:bodyPr wrap="none" rtlCol="0" anchor="ctr">
              <a:normAutofit/>
            </a:bodyPr>
            <a:lstStyle>
              <a:defPPr>
                <a:defRPr lang="en-US"/>
              </a:defPPr>
              <a:lvl1pPr algn="ctr">
                <a:defRPr sz="1600" b="1">
                  <a:solidFill>
                    <a:srgbClr val="FFFFFF"/>
                  </a:solidFill>
                  <a:latin typeface="Arial" panose="020B0604020202020204" pitchFamily="34" charset="0"/>
                  <a:ea typeface="微软雅黑" panose="020B0503020204020204" pitchFamily="34" charset="-122"/>
                </a:defRPr>
              </a:lvl1pPr>
            </a:lstStyle>
            <a:p>
              <a:r>
                <a:rPr lang="en-US" altLang="zh-CN" dirty="0">
                  <a:latin typeface="+mn-lt"/>
                  <a:ea typeface="+mn-ea"/>
                  <a:sym typeface="Arial" panose="020B0604020202020204" pitchFamily="34" charset="0"/>
                </a:rPr>
                <a:t>05</a:t>
              </a:r>
              <a:endParaRPr lang="zh-CN" altLang="en-US" dirty="0">
                <a:latin typeface="+mn-lt"/>
                <a:ea typeface="+mn-ea"/>
                <a:sym typeface="Arial" panose="020B0604020202020204" pitchFamily="34" charset="0"/>
              </a:endParaRPr>
            </a:p>
          </p:txBody>
        </p:sp>
        <p:sp>
          <p:nvSpPr>
            <p:cNvPr id="20" name="Text5"/>
            <p:cNvSpPr/>
            <p:nvPr/>
          </p:nvSpPr>
          <p:spPr>
            <a:xfrm>
              <a:off x="8885767" y="1972600"/>
              <a:ext cx="2633133" cy="666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sz="1200">
                  <a:solidFill>
                    <a:schemeClr val="tx1"/>
                  </a:solidFill>
                  <a:sym typeface="Arial" panose="020B0604020202020204" pitchFamily="34" charset="0"/>
                </a:rPr>
                <a:t>请输入文本内容</a:t>
              </a:r>
              <a:endParaRPr kumimoji="1" sz="1200">
                <a:solidFill>
                  <a:schemeClr val="tx1"/>
                </a:solidFill>
                <a:sym typeface="Arial" panose="020B0604020202020204" pitchFamily="34" charset="0"/>
              </a:endParaRPr>
            </a:p>
          </p:txBody>
        </p:sp>
        <p:sp>
          <p:nvSpPr>
            <p:cNvPr id="21" name="Bullet5"/>
            <p:cNvSpPr/>
            <p:nvPr/>
          </p:nvSpPr>
          <p:spPr>
            <a:xfrm>
              <a:off x="8885767" y="1513548"/>
              <a:ext cx="2633133" cy="459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zh-CN" altLang="en-US" b="1" dirty="0">
                  <a:solidFill>
                    <a:schemeClr val="tx1"/>
                  </a:solidFill>
                  <a:sym typeface="Arial" panose="020B0604020202020204" pitchFamily="34" charset="0"/>
                </a:rPr>
                <a:t>单击此处添加标题</a:t>
              </a:r>
              <a:endParaRPr kumimoji="1" lang="en-US" altLang="zh-CN" b="1" dirty="0">
                <a:solidFill>
                  <a:schemeClr val="tx1"/>
                </a:solidFill>
                <a:sym typeface="Arial" panose="020B0604020202020204" pitchFamily="34" charset="0"/>
              </a:endParaRPr>
            </a:p>
          </p:txBody>
        </p:sp>
      </p:grpSp>
      <p:grpSp>
        <p:nvGrpSpPr>
          <p:cNvPr id="11" name="组合 10"/>
          <p:cNvGrpSpPr/>
          <p:nvPr/>
        </p:nvGrpSpPr>
        <p:grpSpPr>
          <a:xfrm>
            <a:off x="8105246" y="3069299"/>
            <a:ext cx="3413654" cy="1125803"/>
            <a:chOff x="8105246" y="2678464"/>
            <a:chExt cx="3413654" cy="1125803"/>
          </a:xfrm>
        </p:grpSpPr>
        <p:sp>
          <p:nvSpPr>
            <p:cNvPr id="16" name="Number6"/>
            <p:cNvSpPr txBox="1">
              <a:spLocks noChangeAspect="1"/>
            </p:cNvSpPr>
            <p:nvPr/>
          </p:nvSpPr>
          <p:spPr>
            <a:xfrm flipH="1">
              <a:off x="8105246" y="2887658"/>
              <a:ext cx="540000" cy="540000"/>
            </a:xfrm>
            <a:prstGeom prst="roundRect">
              <a:avLst/>
            </a:prstGeom>
            <a:solidFill>
              <a:schemeClr val="accent3"/>
            </a:solidFill>
            <a:ln w="12700" cap="flat">
              <a:noFill/>
              <a:prstDash val="solid"/>
              <a:miter/>
            </a:ln>
            <a:effectLst/>
          </p:spPr>
          <p:txBody>
            <a:bodyPr wrap="none" rtlCol="0" anchor="ctr">
              <a:normAutofit/>
            </a:bodyPr>
            <a:lstStyle>
              <a:defPPr>
                <a:defRPr lang="en-US"/>
              </a:defPPr>
              <a:lvl1pPr algn="ctr">
                <a:defRPr sz="1600" b="1">
                  <a:solidFill>
                    <a:srgbClr val="FFFFFF"/>
                  </a:solidFill>
                  <a:latin typeface="Arial" panose="020B0604020202020204" pitchFamily="34" charset="0"/>
                  <a:ea typeface="微软雅黑" panose="020B0503020204020204" pitchFamily="34" charset="-122"/>
                </a:defRPr>
              </a:lvl1pPr>
            </a:lstStyle>
            <a:p>
              <a:r>
                <a:rPr lang="en-US" altLang="zh-CN" dirty="0">
                  <a:latin typeface="+mn-lt"/>
                  <a:ea typeface="+mn-ea"/>
                  <a:sym typeface="Arial" panose="020B0604020202020204" pitchFamily="34" charset="0"/>
                </a:rPr>
                <a:t>06</a:t>
              </a:r>
              <a:endParaRPr lang="zh-CN" altLang="en-US" dirty="0">
                <a:latin typeface="+mn-lt"/>
                <a:ea typeface="+mn-ea"/>
                <a:sym typeface="Arial" panose="020B0604020202020204" pitchFamily="34" charset="0"/>
              </a:endParaRPr>
            </a:p>
          </p:txBody>
        </p:sp>
        <p:sp>
          <p:nvSpPr>
            <p:cNvPr id="17" name="Text6"/>
            <p:cNvSpPr/>
            <p:nvPr/>
          </p:nvSpPr>
          <p:spPr>
            <a:xfrm>
              <a:off x="8885767" y="3137516"/>
              <a:ext cx="2633133" cy="666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sz="1200">
                  <a:solidFill>
                    <a:schemeClr val="tx1"/>
                  </a:solidFill>
                  <a:sym typeface="Arial" panose="020B0604020202020204" pitchFamily="34" charset="0"/>
                </a:rPr>
                <a:t>请输入文本内容</a:t>
              </a:r>
              <a:endParaRPr kumimoji="1" sz="1200">
                <a:solidFill>
                  <a:schemeClr val="tx1"/>
                </a:solidFill>
                <a:sym typeface="Arial" panose="020B0604020202020204" pitchFamily="34" charset="0"/>
              </a:endParaRPr>
            </a:p>
          </p:txBody>
        </p:sp>
        <p:sp>
          <p:nvSpPr>
            <p:cNvPr id="18" name="Bullet6"/>
            <p:cNvSpPr/>
            <p:nvPr/>
          </p:nvSpPr>
          <p:spPr>
            <a:xfrm>
              <a:off x="8885767" y="2678464"/>
              <a:ext cx="2633133" cy="459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zh-CN" altLang="en-US" b="1" dirty="0">
                  <a:solidFill>
                    <a:schemeClr val="tx1"/>
                  </a:solidFill>
                  <a:sym typeface="Arial" panose="020B0604020202020204" pitchFamily="34" charset="0"/>
                </a:rPr>
                <a:t>单击此处添加标题</a:t>
              </a:r>
              <a:endParaRPr kumimoji="1" lang="en-US" altLang="zh-CN" b="1" dirty="0">
                <a:solidFill>
                  <a:schemeClr val="tx1"/>
                </a:solidFill>
                <a:sym typeface="Arial" panose="020B0604020202020204" pitchFamily="34" charset="0"/>
              </a:endParaRPr>
            </a:p>
          </p:txBody>
        </p:sp>
      </p:grpSp>
      <p:grpSp>
        <p:nvGrpSpPr>
          <p:cNvPr id="12" name="组合 11"/>
          <p:cNvGrpSpPr/>
          <p:nvPr/>
        </p:nvGrpSpPr>
        <p:grpSpPr>
          <a:xfrm>
            <a:off x="8105246" y="4234214"/>
            <a:ext cx="3413654" cy="1125803"/>
            <a:chOff x="8105246" y="3843380"/>
            <a:chExt cx="3413654" cy="1125803"/>
          </a:xfrm>
        </p:grpSpPr>
        <p:sp>
          <p:nvSpPr>
            <p:cNvPr id="13" name="Number7"/>
            <p:cNvSpPr txBox="1">
              <a:spLocks noChangeAspect="1"/>
            </p:cNvSpPr>
            <p:nvPr/>
          </p:nvSpPr>
          <p:spPr>
            <a:xfrm flipH="1">
              <a:off x="8105246" y="4052574"/>
              <a:ext cx="540000" cy="540000"/>
            </a:xfrm>
            <a:prstGeom prst="roundRect">
              <a:avLst/>
            </a:prstGeom>
            <a:solidFill>
              <a:schemeClr val="accent2"/>
            </a:solidFill>
            <a:ln w="12700" cap="flat">
              <a:noFill/>
              <a:prstDash val="solid"/>
              <a:miter/>
            </a:ln>
            <a:effectLst/>
          </p:spPr>
          <p:txBody>
            <a:bodyPr wrap="none" rtlCol="0" anchor="ctr">
              <a:normAutofit/>
            </a:bodyPr>
            <a:lstStyle>
              <a:defPPr>
                <a:defRPr lang="en-US"/>
              </a:defPPr>
              <a:lvl1pPr algn="ctr">
                <a:defRPr sz="1600" b="1">
                  <a:solidFill>
                    <a:srgbClr val="FFFFFF"/>
                  </a:solidFill>
                  <a:latin typeface="Arial" panose="020B0604020202020204" pitchFamily="34" charset="0"/>
                  <a:ea typeface="微软雅黑" panose="020B0503020204020204" pitchFamily="34" charset="-122"/>
                </a:defRPr>
              </a:lvl1pPr>
            </a:lstStyle>
            <a:p>
              <a:r>
                <a:rPr lang="en-US" altLang="zh-CN" dirty="0">
                  <a:latin typeface="+mn-lt"/>
                  <a:ea typeface="+mn-ea"/>
                  <a:sym typeface="Arial" panose="020B0604020202020204" pitchFamily="34" charset="0"/>
                </a:rPr>
                <a:t>07</a:t>
              </a:r>
              <a:endParaRPr lang="zh-CN" altLang="en-US" dirty="0">
                <a:latin typeface="+mn-lt"/>
                <a:ea typeface="+mn-ea"/>
                <a:sym typeface="Arial" panose="020B0604020202020204" pitchFamily="34" charset="0"/>
              </a:endParaRPr>
            </a:p>
          </p:txBody>
        </p:sp>
        <p:sp>
          <p:nvSpPr>
            <p:cNvPr id="14" name="Text7"/>
            <p:cNvSpPr/>
            <p:nvPr/>
          </p:nvSpPr>
          <p:spPr>
            <a:xfrm>
              <a:off x="8885767" y="4302432"/>
              <a:ext cx="2633133" cy="666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zh-CN" altLang="en-US" sz="1200">
                  <a:solidFill>
                    <a:schemeClr val="tx1"/>
                  </a:solidFill>
                  <a:sym typeface="Arial" panose="020B0604020202020204" pitchFamily="34" charset="0"/>
                </a:rPr>
                <a:t>请输入文本内容</a:t>
              </a:r>
              <a:endParaRPr kumimoji="1" lang="zh-CN" altLang="en-US" sz="1200">
                <a:solidFill>
                  <a:schemeClr val="tx1"/>
                </a:solidFill>
                <a:sym typeface="Arial" panose="020B0604020202020204" pitchFamily="34" charset="0"/>
              </a:endParaRPr>
            </a:p>
          </p:txBody>
        </p:sp>
        <p:sp>
          <p:nvSpPr>
            <p:cNvPr id="15" name="Bullet7"/>
            <p:cNvSpPr/>
            <p:nvPr/>
          </p:nvSpPr>
          <p:spPr>
            <a:xfrm>
              <a:off x="8885767" y="3843380"/>
              <a:ext cx="2633133" cy="459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zh-CN" altLang="en-US" b="1" dirty="0">
                  <a:solidFill>
                    <a:schemeClr val="tx1"/>
                  </a:solidFill>
                  <a:sym typeface="Arial" panose="020B0604020202020204" pitchFamily="34" charset="0"/>
                </a:rPr>
                <a:t>单击此处添加标题</a:t>
              </a:r>
              <a:endParaRPr kumimoji="1" lang="en-US" altLang="zh-CN" b="1" dirty="0">
                <a:solidFill>
                  <a:schemeClr val="tx1"/>
                </a:solidFill>
                <a:sym typeface="Arial" panose="020B0604020202020204" pitchFamily="34" charset="0"/>
              </a:endParaRPr>
            </a:p>
          </p:txBody>
        </p:sp>
      </p:grpSp>
      <p:sp>
        <p:nvSpPr>
          <p:cNvPr id="2" name="标题 1"/>
          <p:cNvSpPr>
            <a:spLocks noGrp="1"/>
          </p:cNvSpPr>
          <p:nvPr>
            <p:ph type="title"/>
          </p:nvPr>
        </p:nvSpPr>
        <p:spPr/>
        <p:txBody>
          <a:bodyPr/>
          <a:lstStyle/>
          <a:p>
            <a:r>
              <a:rPr lang="zh-CN" altLang="en-US" dirty="0"/>
              <a:t>单击此处添加标题</a:t>
            </a:r>
            <a:endParaRPr lang="zh-CN" alt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custDataLst>
              <p:tags r:id="rId1"/>
            </p:custDataLst>
          </p:nvPr>
        </p:nvGrpSpPr>
        <p:grpSpPr>
          <a:xfrm>
            <a:off x="660400" y="1148551"/>
            <a:ext cx="10858500" cy="4917649"/>
            <a:chOff x="660400" y="1148551"/>
            <a:chExt cx="10858500" cy="4917649"/>
          </a:xfrm>
        </p:grpSpPr>
        <p:cxnSp>
          <p:nvCxnSpPr>
            <p:cNvPr id="4" name="íṥḻïďé"/>
            <p:cNvCxnSpPr/>
            <p:nvPr>
              <p:custDataLst>
                <p:tags r:id="rId2"/>
              </p:custDataLst>
            </p:nvPr>
          </p:nvCxnSpPr>
          <p:spPr>
            <a:xfrm flipH="1">
              <a:off x="660400" y="3468051"/>
              <a:ext cx="10858500" cy="0"/>
            </a:xfrm>
            <a:prstGeom prst="line">
              <a:avLst/>
            </a:prstGeom>
            <a:ln w="6350" cap="rnd">
              <a:solidFill>
                <a:schemeClr val="accent1">
                  <a:alpha val="50000"/>
                </a:schemeClr>
              </a:solidFill>
              <a:round/>
            </a:ln>
          </p:spPr>
          <p:style>
            <a:lnRef idx="1">
              <a:schemeClr val="accent1"/>
            </a:lnRef>
            <a:fillRef idx="0">
              <a:schemeClr val="accent1"/>
            </a:fillRef>
            <a:effectRef idx="0">
              <a:schemeClr val="accent1"/>
            </a:effectRef>
            <a:fontRef idx="minor">
              <a:schemeClr val="tx1"/>
            </a:fontRef>
          </p:style>
        </p:cxnSp>
        <p:sp>
          <p:nvSpPr>
            <p:cNvPr id="5" name="Title"/>
            <p:cNvSpPr/>
            <p:nvPr/>
          </p:nvSpPr>
          <p:spPr>
            <a:xfrm>
              <a:off x="660400" y="1148551"/>
              <a:ext cx="10858500" cy="553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zh-CN" altLang="en-US" sz="2400" b="1">
                  <a:solidFill>
                    <a:schemeClr val="tx1"/>
                  </a:solidFill>
                  <a:sym typeface="Arial" panose="020B0604020202020204" pitchFamily="34" charset="0"/>
                </a:rPr>
                <a:t>请输入文本内容请输入文本内容</a:t>
              </a:r>
              <a:endParaRPr lang="zh-CN" altLang="en-US" sz="2400" b="1">
                <a:solidFill>
                  <a:schemeClr val="tx1"/>
                </a:solidFill>
                <a:sym typeface="Arial" panose="020B0604020202020204" pitchFamily="34" charset="0"/>
              </a:endParaRPr>
            </a:p>
          </p:txBody>
        </p:sp>
        <p:grpSp>
          <p:nvGrpSpPr>
            <p:cNvPr id="6" name="组合 5"/>
            <p:cNvGrpSpPr/>
            <p:nvPr/>
          </p:nvGrpSpPr>
          <p:grpSpPr>
            <a:xfrm>
              <a:off x="840122" y="2321008"/>
              <a:ext cx="2246572" cy="3745191"/>
              <a:chOff x="840122" y="2321008"/>
              <a:chExt cx="2246572" cy="3745191"/>
            </a:xfrm>
          </p:grpSpPr>
          <p:sp>
            <p:nvSpPr>
              <p:cNvPr id="25" name="ComponentBackground1"/>
              <p:cNvSpPr/>
              <p:nvPr>
                <p:custDataLst>
                  <p:tags r:id="rId3"/>
                </p:custDataLst>
              </p:nvPr>
            </p:nvSpPr>
            <p:spPr>
              <a:xfrm>
                <a:off x="840122" y="3685359"/>
                <a:ext cx="2246572" cy="2380840"/>
              </a:xfrm>
              <a:prstGeom prst="roundRect">
                <a:avLst/>
              </a:prstGeom>
              <a:solidFill>
                <a:schemeClr val="accent1">
                  <a:alpha val="15000"/>
                </a:schemeClr>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6" name="Shape1"/>
              <p:cNvSpPr/>
              <p:nvPr>
                <p:custDataLst>
                  <p:tags r:id="rId4"/>
                </p:custDataLst>
              </p:nvPr>
            </p:nvSpPr>
            <p:spPr>
              <a:xfrm>
                <a:off x="1873407" y="3357561"/>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sp>
            <p:nvSpPr>
              <p:cNvPr id="27" name="Bullet1"/>
              <p:cNvSpPr txBox="1"/>
              <p:nvPr>
                <p:custDataLst>
                  <p:tags r:id="rId5"/>
                </p:custDataLst>
              </p:nvPr>
            </p:nvSpPr>
            <p:spPr bwMode="auto">
              <a:xfrm>
                <a:off x="951684" y="3981397"/>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zh-CN" altLang="en-US" b="1" dirty="0"/>
                  <a:t>单击添加标题</a:t>
                </a:r>
                <a:endParaRPr lang="en-US" altLang="zh-CN" b="1" dirty="0"/>
              </a:p>
            </p:txBody>
          </p:sp>
          <p:sp>
            <p:nvSpPr>
              <p:cNvPr id="28" name="Text1"/>
              <p:cNvSpPr/>
              <p:nvPr>
                <p:custDataLst>
                  <p:tags r:id="rId6"/>
                </p:custDataLst>
              </p:nvPr>
            </p:nvSpPr>
            <p:spPr bwMode="auto">
              <a:xfrm>
                <a:off x="951387" y="4705575"/>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zh-CN" altLang="en-US" sz="1200">
                    <a:sym typeface="+mn-ea"/>
                  </a:rPr>
                  <a:t>请输入文本内容请输入文本内容请输入文本内容请输入文本内容</a:t>
                </a:r>
                <a:endParaRPr lang="zh-CN" altLang="en-US" sz="1200"/>
              </a:p>
            </p:txBody>
          </p:sp>
          <p:sp>
            <p:nvSpPr>
              <p:cNvPr id="29" name="Number1"/>
              <p:cNvSpPr/>
              <p:nvPr>
                <p:custDataLst>
                  <p:tags r:id="rId7"/>
                </p:custDataLst>
              </p:nvPr>
            </p:nvSpPr>
            <p:spPr>
              <a:xfrm>
                <a:off x="1546867" y="2321008"/>
                <a:ext cx="833082" cy="1005618"/>
              </a:xfrm>
              <a:custGeom>
                <a:avLst/>
                <a:gdLst>
                  <a:gd name="connsiteX0" fmla="*/ 416542 w 833082"/>
                  <a:gd name="connsiteY0" fmla="*/ 1 h 1005618"/>
                  <a:gd name="connsiteX1" fmla="*/ 711080 w 833082"/>
                  <a:gd name="connsiteY1" fmla="*/ 122002 h 1005618"/>
                  <a:gd name="connsiteX2" fmla="*/ 711080 w 833082"/>
                  <a:gd name="connsiteY2" fmla="*/ 711079 h 1005618"/>
                  <a:gd name="connsiteX3" fmla="*/ 416540 w 833082"/>
                  <a:gd name="connsiteY3" fmla="*/ 1005618 h 1005618"/>
                  <a:gd name="connsiteX4" fmla="*/ 122002 w 833082"/>
                  <a:gd name="connsiteY4" fmla="*/ 711080 h 1005618"/>
                  <a:gd name="connsiteX5" fmla="*/ 122003 w 833082"/>
                  <a:gd name="connsiteY5" fmla="*/ 122003 h 1005618"/>
                  <a:gd name="connsiteX6" fmla="*/ 416542 w 833082"/>
                  <a:gd name="connsiteY6" fmla="*/ 1 h 100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082" h="1005618">
                    <a:moveTo>
                      <a:pt x="416542" y="1"/>
                    </a:moveTo>
                    <a:cubicBezTo>
                      <a:pt x="523144" y="0"/>
                      <a:pt x="629746" y="40668"/>
                      <a:pt x="711080" y="122002"/>
                    </a:cubicBezTo>
                    <a:cubicBezTo>
                      <a:pt x="873750" y="284671"/>
                      <a:pt x="873749" y="548410"/>
                      <a:pt x="711080" y="711079"/>
                    </a:cubicBezTo>
                    <a:lnTo>
                      <a:pt x="416540" y="1005618"/>
                    </a:lnTo>
                    <a:lnTo>
                      <a:pt x="122002" y="711080"/>
                    </a:lnTo>
                    <a:cubicBezTo>
                      <a:pt x="-40667" y="548411"/>
                      <a:pt x="-40666" y="284672"/>
                      <a:pt x="122003" y="122003"/>
                    </a:cubicBezTo>
                    <a:cubicBezTo>
                      <a:pt x="203338" y="40668"/>
                      <a:pt x="309940" y="1"/>
                      <a:pt x="416542" y="1"/>
                    </a:cubicBezTo>
                    <a:close/>
                  </a:path>
                </a:pathLst>
              </a:custGeom>
              <a:solidFill>
                <a:schemeClr val="accent1">
                  <a:alpha val="15000"/>
                </a:schemeClr>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defTabSz="913765"/>
                <a:r>
                  <a:rPr lang="en-US" altLang="zh-CN" sz="2000" b="1">
                    <a:solidFill>
                      <a:schemeClr val="accent1"/>
                    </a:solidFill>
                  </a:rPr>
                  <a:t>01</a:t>
                </a:r>
                <a:endParaRPr lang="zh-CN" altLang="en-US" sz="2000" b="1" dirty="0">
                  <a:solidFill>
                    <a:schemeClr val="accent1"/>
                  </a:solidFill>
                </a:endParaRPr>
              </a:p>
            </p:txBody>
          </p:sp>
        </p:grpSp>
        <p:grpSp>
          <p:nvGrpSpPr>
            <p:cNvPr id="7" name="组合 6"/>
            <p:cNvGrpSpPr/>
            <p:nvPr/>
          </p:nvGrpSpPr>
          <p:grpSpPr>
            <a:xfrm>
              <a:off x="3590950" y="2321009"/>
              <a:ext cx="2246572" cy="3745191"/>
              <a:chOff x="3590950" y="2321009"/>
              <a:chExt cx="2246572" cy="3745191"/>
            </a:xfrm>
          </p:grpSpPr>
          <p:sp>
            <p:nvSpPr>
              <p:cNvPr id="20" name="Number2"/>
              <p:cNvSpPr/>
              <p:nvPr>
                <p:custDataLst>
                  <p:tags r:id="rId8"/>
                </p:custDataLst>
              </p:nvPr>
            </p:nvSpPr>
            <p:spPr>
              <a:xfrm>
                <a:off x="4297696" y="2321009"/>
                <a:ext cx="833081" cy="1005618"/>
              </a:xfrm>
              <a:custGeom>
                <a:avLst/>
                <a:gdLst>
                  <a:gd name="connsiteX0" fmla="*/ 416542 w 833081"/>
                  <a:gd name="connsiteY0" fmla="*/ 1 h 1005618"/>
                  <a:gd name="connsiteX1" fmla="*/ 711080 w 833081"/>
                  <a:gd name="connsiteY1" fmla="*/ 122002 h 1005618"/>
                  <a:gd name="connsiteX2" fmla="*/ 711080 w 833081"/>
                  <a:gd name="connsiteY2" fmla="*/ 711080 h 1005618"/>
                  <a:gd name="connsiteX3" fmla="*/ 416541 w 833081"/>
                  <a:gd name="connsiteY3" fmla="*/ 1005618 h 1005618"/>
                  <a:gd name="connsiteX4" fmla="*/ 122002 w 833081"/>
                  <a:gd name="connsiteY4" fmla="*/ 711080 h 1005618"/>
                  <a:gd name="connsiteX5" fmla="*/ 122003 w 833081"/>
                  <a:gd name="connsiteY5" fmla="*/ 122003 h 1005618"/>
                  <a:gd name="connsiteX6" fmla="*/ 416542 w 833081"/>
                  <a:gd name="connsiteY6" fmla="*/ 1 h 100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081" h="1005618">
                    <a:moveTo>
                      <a:pt x="416542" y="1"/>
                    </a:moveTo>
                    <a:cubicBezTo>
                      <a:pt x="523144" y="0"/>
                      <a:pt x="629746" y="40668"/>
                      <a:pt x="711080" y="122002"/>
                    </a:cubicBezTo>
                    <a:cubicBezTo>
                      <a:pt x="873749" y="284671"/>
                      <a:pt x="873749" y="548410"/>
                      <a:pt x="711080" y="711080"/>
                    </a:cubicBezTo>
                    <a:lnTo>
                      <a:pt x="416541" y="1005618"/>
                    </a:lnTo>
                    <a:lnTo>
                      <a:pt x="122002" y="711080"/>
                    </a:lnTo>
                    <a:cubicBezTo>
                      <a:pt x="-40667" y="548411"/>
                      <a:pt x="-40666" y="284672"/>
                      <a:pt x="122003" y="122003"/>
                    </a:cubicBezTo>
                    <a:cubicBezTo>
                      <a:pt x="203338" y="40668"/>
                      <a:pt x="309940" y="1"/>
                      <a:pt x="416542" y="1"/>
                    </a:cubicBezTo>
                    <a:close/>
                  </a:path>
                </a:pathLst>
              </a:cu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defTabSz="913765"/>
                <a:r>
                  <a:rPr lang="en-US" altLang="zh-CN" sz="2000" b="1">
                    <a:solidFill>
                      <a:schemeClr val="bg1"/>
                    </a:solidFill>
                  </a:rPr>
                  <a:t>02</a:t>
                </a:r>
                <a:endParaRPr lang="zh-CN" altLang="en-US" sz="2000" b="1" dirty="0">
                  <a:solidFill>
                    <a:schemeClr val="bg1"/>
                  </a:solidFill>
                </a:endParaRPr>
              </a:p>
            </p:txBody>
          </p:sp>
          <p:sp>
            <p:nvSpPr>
              <p:cNvPr id="21" name="ComponentBackground2"/>
              <p:cNvSpPr/>
              <p:nvPr>
                <p:custDataLst>
                  <p:tags r:id="rId9"/>
                </p:custDataLst>
              </p:nvPr>
            </p:nvSpPr>
            <p:spPr>
              <a:xfrm>
                <a:off x="3590950" y="3685360"/>
                <a:ext cx="2246572" cy="2380840"/>
              </a:xfrm>
              <a:prstGeom prst="roundRect">
                <a:avLst/>
              </a:prstGeom>
              <a:solidFill>
                <a:schemeClr val="accent1"/>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2" name="Shape2"/>
              <p:cNvSpPr/>
              <p:nvPr>
                <p:custDataLst>
                  <p:tags r:id="rId10"/>
                </p:custDataLst>
              </p:nvPr>
            </p:nvSpPr>
            <p:spPr>
              <a:xfrm>
                <a:off x="4624235" y="3357561"/>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sp>
            <p:nvSpPr>
              <p:cNvPr id="23" name="Bullet2"/>
              <p:cNvSpPr txBox="1"/>
              <p:nvPr>
                <p:custDataLst>
                  <p:tags r:id="rId11"/>
                </p:custDataLst>
              </p:nvPr>
            </p:nvSpPr>
            <p:spPr bwMode="auto">
              <a:xfrm>
                <a:off x="3702512" y="3981397"/>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zh-CN" altLang="en-US" b="1" dirty="0">
                    <a:solidFill>
                      <a:srgbClr val="FFFFFF"/>
                    </a:solidFill>
                  </a:rPr>
                  <a:t>单击添加标题</a:t>
                </a:r>
                <a:endParaRPr lang="en-US" altLang="zh-CN" b="1" dirty="0">
                  <a:solidFill>
                    <a:srgbClr val="FFFFFF"/>
                  </a:solidFill>
                </a:endParaRPr>
              </a:p>
            </p:txBody>
          </p:sp>
          <p:sp>
            <p:nvSpPr>
              <p:cNvPr id="24" name="Text2"/>
              <p:cNvSpPr/>
              <p:nvPr>
                <p:custDataLst>
                  <p:tags r:id="rId12"/>
                </p:custDataLst>
              </p:nvPr>
            </p:nvSpPr>
            <p:spPr bwMode="auto">
              <a:xfrm>
                <a:off x="3702215" y="4705575"/>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zh-CN" altLang="en-US" sz="1200">
                    <a:solidFill>
                      <a:srgbClr val="FFFFFF"/>
                    </a:solidFill>
                  </a:rPr>
                  <a:t>请输入文本内容请输入文本内容请输入文本内容请输入文本内容</a:t>
                </a:r>
                <a:endParaRPr lang="zh-CN" altLang="en-US" sz="1200">
                  <a:solidFill>
                    <a:srgbClr val="FFFFFF"/>
                  </a:solidFill>
                </a:endParaRPr>
              </a:p>
            </p:txBody>
          </p:sp>
        </p:grpSp>
        <p:grpSp>
          <p:nvGrpSpPr>
            <p:cNvPr id="8" name="组合 7"/>
            <p:cNvGrpSpPr/>
            <p:nvPr/>
          </p:nvGrpSpPr>
          <p:grpSpPr>
            <a:xfrm>
              <a:off x="6341778" y="2321008"/>
              <a:ext cx="2246572" cy="3745191"/>
              <a:chOff x="6341778" y="2321008"/>
              <a:chExt cx="2246572" cy="3745191"/>
            </a:xfrm>
          </p:grpSpPr>
          <p:sp>
            <p:nvSpPr>
              <p:cNvPr id="15" name="ComponentBackground3"/>
              <p:cNvSpPr/>
              <p:nvPr>
                <p:custDataLst>
                  <p:tags r:id="rId13"/>
                </p:custDataLst>
              </p:nvPr>
            </p:nvSpPr>
            <p:spPr>
              <a:xfrm>
                <a:off x="6341778" y="3685359"/>
                <a:ext cx="2246572" cy="2380840"/>
              </a:xfrm>
              <a:prstGeom prst="roundRect">
                <a:avLst/>
              </a:prstGeom>
              <a:solidFill>
                <a:schemeClr val="accent1">
                  <a:alpha val="15000"/>
                </a:schemeClr>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16" name="Shape3"/>
              <p:cNvSpPr/>
              <p:nvPr>
                <p:custDataLst>
                  <p:tags r:id="rId14"/>
                </p:custDataLst>
              </p:nvPr>
            </p:nvSpPr>
            <p:spPr>
              <a:xfrm>
                <a:off x="7375063" y="3357561"/>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sp>
            <p:nvSpPr>
              <p:cNvPr id="17" name="Bullet3"/>
              <p:cNvSpPr txBox="1"/>
              <p:nvPr>
                <p:custDataLst>
                  <p:tags r:id="rId15"/>
                </p:custDataLst>
              </p:nvPr>
            </p:nvSpPr>
            <p:spPr bwMode="auto">
              <a:xfrm>
                <a:off x="6453340" y="3981397"/>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zh-CN" altLang="en-US" b="1" dirty="0"/>
                  <a:t>单击添加标题</a:t>
                </a:r>
                <a:endParaRPr lang="en-US" altLang="zh-CN" b="1" dirty="0"/>
              </a:p>
            </p:txBody>
          </p:sp>
          <p:sp>
            <p:nvSpPr>
              <p:cNvPr id="18" name="Text3"/>
              <p:cNvSpPr/>
              <p:nvPr>
                <p:custDataLst>
                  <p:tags r:id="rId16"/>
                </p:custDataLst>
              </p:nvPr>
            </p:nvSpPr>
            <p:spPr bwMode="auto">
              <a:xfrm>
                <a:off x="6453043" y="4705575"/>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zh-CN" altLang="en-US" sz="1200"/>
                  <a:t>请输入文本内容请输入文本内容请输入文本内容请输入文本内容</a:t>
                </a:r>
                <a:endParaRPr lang="zh-CN" altLang="en-US" sz="1200"/>
              </a:p>
            </p:txBody>
          </p:sp>
          <p:sp>
            <p:nvSpPr>
              <p:cNvPr id="19" name="Number3"/>
              <p:cNvSpPr/>
              <p:nvPr>
                <p:custDataLst>
                  <p:tags r:id="rId17"/>
                </p:custDataLst>
              </p:nvPr>
            </p:nvSpPr>
            <p:spPr>
              <a:xfrm>
                <a:off x="7048524" y="2321008"/>
                <a:ext cx="833081" cy="1005618"/>
              </a:xfrm>
              <a:custGeom>
                <a:avLst/>
                <a:gdLst>
                  <a:gd name="connsiteX0" fmla="*/ 416542 w 833081"/>
                  <a:gd name="connsiteY0" fmla="*/ 1 h 1005618"/>
                  <a:gd name="connsiteX1" fmla="*/ 711080 w 833081"/>
                  <a:gd name="connsiteY1" fmla="*/ 122002 h 1005618"/>
                  <a:gd name="connsiteX2" fmla="*/ 711080 w 833081"/>
                  <a:gd name="connsiteY2" fmla="*/ 711079 h 1005618"/>
                  <a:gd name="connsiteX3" fmla="*/ 416541 w 833081"/>
                  <a:gd name="connsiteY3" fmla="*/ 1005618 h 1005618"/>
                  <a:gd name="connsiteX4" fmla="*/ 122002 w 833081"/>
                  <a:gd name="connsiteY4" fmla="*/ 711080 h 1005618"/>
                  <a:gd name="connsiteX5" fmla="*/ 122003 w 833081"/>
                  <a:gd name="connsiteY5" fmla="*/ 122003 h 1005618"/>
                  <a:gd name="connsiteX6" fmla="*/ 416542 w 833081"/>
                  <a:gd name="connsiteY6" fmla="*/ 1 h 100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081" h="1005618">
                    <a:moveTo>
                      <a:pt x="416542" y="1"/>
                    </a:moveTo>
                    <a:cubicBezTo>
                      <a:pt x="523144" y="0"/>
                      <a:pt x="629746" y="40668"/>
                      <a:pt x="711080" y="122002"/>
                    </a:cubicBezTo>
                    <a:cubicBezTo>
                      <a:pt x="873749" y="284671"/>
                      <a:pt x="873749" y="548410"/>
                      <a:pt x="711080" y="711079"/>
                    </a:cubicBezTo>
                    <a:lnTo>
                      <a:pt x="416541" y="1005618"/>
                    </a:lnTo>
                    <a:lnTo>
                      <a:pt x="122002" y="711080"/>
                    </a:lnTo>
                    <a:cubicBezTo>
                      <a:pt x="-40667" y="548411"/>
                      <a:pt x="-40666" y="284672"/>
                      <a:pt x="122003" y="122003"/>
                    </a:cubicBezTo>
                    <a:cubicBezTo>
                      <a:pt x="203337" y="40668"/>
                      <a:pt x="309940" y="1"/>
                      <a:pt x="416542" y="1"/>
                    </a:cubicBezTo>
                    <a:close/>
                  </a:path>
                </a:pathLst>
              </a:custGeom>
              <a:solidFill>
                <a:schemeClr val="accent1">
                  <a:alpha val="15000"/>
                </a:schemeClr>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defTabSz="913765"/>
                <a:r>
                  <a:rPr lang="en-US" altLang="zh-CN" sz="2000" b="1">
                    <a:solidFill>
                      <a:schemeClr val="accent1"/>
                    </a:solidFill>
                  </a:rPr>
                  <a:t>03</a:t>
                </a:r>
                <a:endParaRPr lang="zh-CN" altLang="en-US" sz="2000" b="1" dirty="0">
                  <a:solidFill>
                    <a:schemeClr val="accent1"/>
                  </a:solidFill>
                </a:endParaRPr>
              </a:p>
            </p:txBody>
          </p:sp>
        </p:grpSp>
        <p:grpSp>
          <p:nvGrpSpPr>
            <p:cNvPr id="9" name="组合 8"/>
            <p:cNvGrpSpPr/>
            <p:nvPr/>
          </p:nvGrpSpPr>
          <p:grpSpPr>
            <a:xfrm>
              <a:off x="9092605" y="2321009"/>
              <a:ext cx="2246572" cy="3745191"/>
              <a:chOff x="9092605" y="2321009"/>
              <a:chExt cx="2246572" cy="3745191"/>
            </a:xfrm>
          </p:grpSpPr>
          <p:sp>
            <p:nvSpPr>
              <p:cNvPr id="10" name="ComponentBackground4"/>
              <p:cNvSpPr/>
              <p:nvPr>
                <p:custDataLst>
                  <p:tags r:id="rId18"/>
                </p:custDataLst>
              </p:nvPr>
            </p:nvSpPr>
            <p:spPr>
              <a:xfrm>
                <a:off x="9092605" y="3685360"/>
                <a:ext cx="2246572" cy="2380840"/>
              </a:xfrm>
              <a:prstGeom prst="roundRect">
                <a:avLst/>
              </a:prstGeom>
              <a:solidFill>
                <a:schemeClr val="accent1">
                  <a:alpha val="15000"/>
                </a:schemeClr>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11" name="Shape4"/>
              <p:cNvSpPr/>
              <p:nvPr>
                <p:custDataLst>
                  <p:tags r:id="rId19"/>
                </p:custDataLst>
              </p:nvPr>
            </p:nvSpPr>
            <p:spPr>
              <a:xfrm>
                <a:off x="10125890" y="3357561"/>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sp>
            <p:nvSpPr>
              <p:cNvPr id="12" name="Bullet4"/>
              <p:cNvSpPr txBox="1"/>
              <p:nvPr>
                <p:custDataLst>
                  <p:tags r:id="rId20"/>
                </p:custDataLst>
              </p:nvPr>
            </p:nvSpPr>
            <p:spPr bwMode="auto">
              <a:xfrm>
                <a:off x="9204167" y="3981397"/>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zh-CN" altLang="en-US" b="1" dirty="0"/>
                  <a:t>单击添加标题</a:t>
                </a:r>
                <a:endParaRPr lang="en-US" altLang="zh-CN" b="1" dirty="0"/>
              </a:p>
            </p:txBody>
          </p:sp>
          <p:sp>
            <p:nvSpPr>
              <p:cNvPr id="13" name="Text4"/>
              <p:cNvSpPr/>
              <p:nvPr>
                <p:custDataLst>
                  <p:tags r:id="rId21"/>
                </p:custDataLst>
              </p:nvPr>
            </p:nvSpPr>
            <p:spPr bwMode="auto">
              <a:xfrm>
                <a:off x="9203870" y="4705575"/>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zh-CN" altLang="en-US" sz="1200"/>
                  <a:t>请输入文本内容请输入文本内容请输入文本内容请输入文本内容</a:t>
                </a:r>
                <a:endParaRPr lang="zh-CN" altLang="en-US" sz="1200"/>
              </a:p>
            </p:txBody>
          </p:sp>
          <p:sp>
            <p:nvSpPr>
              <p:cNvPr id="14" name="Number4"/>
              <p:cNvSpPr/>
              <p:nvPr>
                <p:custDataLst>
                  <p:tags r:id="rId22"/>
                </p:custDataLst>
              </p:nvPr>
            </p:nvSpPr>
            <p:spPr>
              <a:xfrm>
                <a:off x="9799351" y="2321009"/>
                <a:ext cx="833081" cy="1005618"/>
              </a:xfrm>
              <a:custGeom>
                <a:avLst/>
                <a:gdLst>
                  <a:gd name="connsiteX0" fmla="*/ 416542 w 833081"/>
                  <a:gd name="connsiteY0" fmla="*/ 1 h 1005618"/>
                  <a:gd name="connsiteX1" fmla="*/ 711080 w 833081"/>
                  <a:gd name="connsiteY1" fmla="*/ 122002 h 1005618"/>
                  <a:gd name="connsiteX2" fmla="*/ 711079 w 833081"/>
                  <a:gd name="connsiteY2" fmla="*/ 711080 h 1005618"/>
                  <a:gd name="connsiteX3" fmla="*/ 416540 w 833081"/>
                  <a:gd name="connsiteY3" fmla="*/ 1005618 h 1005618"/>
                  <a:gd name="connsiteX4" fmla="*/ 122002 w 833081"/>
                  <a:gd name="connsiteY4" fmla="*/ 711080 h 1005618"/>
                  <a:gd name="connsiteX5" fmla="*/ 122003 w 833081"/>
                  <a:gd name="connsiteY5" fmla="*/ 122003 h 1005618"/>
                  <a:gd name="connsiteX6" fmla="*/ 416542 w 833081"/>
                  <a:gd name="connsiteY6" fmla="*/ 1 h 100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081" h="1005618">
                    <a:moveTo>
                      <a:pt x="416542" y="1"/>
                    </a:moveTo>
                    <a:cubicBezTo>
                      <a:pt x="523144" y="0"/>
                      <a:pt x="629746" y="40668"/>
                      <a:pt x="711080" y="122002"/>
                    </a:cubicBezTo>
                    <a:cubicBezTo>
                      <a:pt x="873749" y="284671"/>
                      <a:pt x="873748" y="548410"/>
                      <a:pt x="711079" y="711080"/>
                    </a:cubicBezTo>
                    <a:lnTo>
                      <a:pt x="416540" y="1005618"/>
                    </a:lnTo>
                    <a:lnTo>
                      <a:pt x="122002" y="711080"/>
                    </a:lnTo>
                    <a:cubicBezTo>
                      <a:pt x="-40667" y="548411"/>
                      <a:pt x="-40666" y="284672"/>
                      <a:pt x="122003" y="122003"/>
                    </a:cubicBezTo>
                    <a:cubicBezTo>
                      <a:pt x="203338" y="40668"/>
                      <a:pt x="309940" y="1"/>
                      <a:pt x="416542" y="1"/>
                    </a:cubicBezTo>
                    <a:close/>
                  </a:path>
                </a:pathLst>
              </a:custGeom>
              <a:solidFill>
                <a:schemeClr val="accent1">
                  <a:alpha val="15000"/>
                </a:schemeClr>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defTabSz="913765"/>
                <a:r>
                  <a:rPr lang="en-US" altLang="zh-CN" sz="2000" b="1">
                    <a:solidFill>
                      <a:schemeClr val="accent1"/>
                    </a:solidFill>
                  </a:rPr>
                  <a:t>04</a:t>
                </a:r>
                <a:endParaRPr lang="zh-CN" altLang="en-US" sz="2000" b="1" dirty="0">
                  <a:solidFill>
                    <a:schemeClr val="accent1"/>
                  </a:solidFill>
                </a:endParaRPr>
              </a:p>
            </p:txBody>
          </p:sp>
        </p:grpSp>
      </p:grpSp>
      <p:sp>
        <p:nvSpPr>
          <p:cNvPr id="2" name="标题 1"/>
          <p:cNvSpPr>
            <a:spLocks noGrp="1"/>
          </p:cNvSpPr>
          <p:nvPr>
            <p:ph type="title"/>
          </p:nvPr>
        </p:nvSpPr>
        <p:spPr/>
        <p:txBody>
          <a:bodyPr/>
          <a:lstStyle/>
          <a:p>
            <a:r>
              <a:rPr lang="zh-CN" altLang="en-US" dirty="0"/>
              <a:t>单击此处添加标题</a:t>
            </a:r>
            <a:endParaRPr lang="zh-CN" alt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custDataLst>
              <p:tags r:id="rId1"/>
            </p:custDataLst>
          </p:nvPr>
        </p:nvGrpSpPr>
        <p:grpSpPr>
          <a:xfrm>
            <a:off x="660400" y="1393605"/>
            <a:ext cx="10858500" cy="4477190"/>
            <a:chOff x="660400" y="1333500"/>
            <a:chExt cx="10858500" cy="4477190"/>
          </a:xfrm>
        </p:grpSpPr>
        <p:grpSp>
          <p:nvGrpSpPr>
            <p:cNvPr id="4" name="组合 3"/>
            <p:cNvGrpSpPr/>
            <p:nvPr/>
          </p:nvGrpSpPr>
          <p:grpSpPr>
            <a:xfrm>
              <a:off x="1927558" y="2617315"/>
              <a:ext cx="8324183" cy="141218"/>
              <a:chOff x="1927558" y="2617315"/>
              <a:chExt cx="8324183" cy="141218"/>
            </a:xfrm>
          </p:grpSpPr>
          <p:cxnSp>
            <p:nvCxnSpPr>
              <p:cNvPr id="26" name="直接连接符 25"/>
              <p:cNvCxnSpPr/>
              <p:nvPr>
                <p:custDataLst>
                  <p:tags r:id="rId2"/>
                </p:custDataLst>
              </p:nvPr>
            </p:nvCxnSpPr>
            <p:spPr>
              <a:xfrm>
                <a:off x="2068776" y="2687924"/>
                <a:ext cx="8041747"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sp>
            <p:nvSpPr>
              <p:cNvPr id="27" name="矩形: 圆角 26"/>
              <p:cNvSpPr/>
              <p:nvPr>
                <p:custDataLst>
                  <p:tags r:id="rId3"/>
                </p:custDataLst>
              </p:nvPr>
            </p:nvSpPr>
            <p:spPr>
              <a:xfrm>
                <a:off x="1927558" y="2617315"/>
                <a:ext cx="141218" cy="1412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圆角 27"/>
              <p:cNvSpPr/>
              <p:nvPr>
                <p:custDataLst>
                  <p:tags r:id="rId4"/>
                </p:custDataLst>
              </p:nvPr>
            </p:nvSpPr>
            <p:spPr>
              <a:xfrm>
                <a:off x="4655214" y="2617315"/>
                <a:ext cx="141218" cy="141218"/>
              </a:xfrm>
              <a:prstGeom prst="round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圆角 28"/>
              <p:cNvSpPr/>
              <p:nvPr>
                <p:custDataLst>
                  <p:tags r:id="rId5"/>
                </p:custDataLst>
              </p:nvPr>
            </p:nvSpPr>
            <p:spPr>
              <a:xfrm>
                <a:off x="7382869" y="2617315"/>
                <a:ext cx="141218" cy="1412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圆角 29"/>
              <p:cNvSpPr/>
              <p:nvPr>
                <p:custDataLst>
                  <p:tags r:id="rId6"/>
                </p:custDataLst>
              </p:nvPr>
            </p:nvSpPr>
            <p:spPr>
              <a:xfrm>
                <a:off x="10110523" y="2617315"/>
                <a:ext cx="141218" cy="141218"/>
              </a:xfrm>
              <a:prstGeom prst="round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 name="组合 4"/>
            <p:cNvGrpSpPr/>
            <p:nvPr/>
          </p:nvGrpSpPr>
          <p:grpSpPr>
            <a:xfrm>
              <a:off x="904151" y="3204432"/>
              <a:ext cx="2188032" cy="2606258"/>
              <a:chOff x="904151" y="3204432"/>
              <a:chExt cx="2188032" cy="2606258"/>
            </a:xfrm>
          </p:grpSpPr>
          <p:sp>
            <p:nvSpPr>
              <p:cNvPr id="22" name="IconBackground1"/>
              <p:cNvSpPr/>
              <p:nvPr>
                <p:custDataLst>
                  <p:tags r:id="rId7"/>
                </p:custDataLst>
              </p:nvPr>
            </p:nvSpPr>
            <p:spPr>
              <a:xfrm>
                <a:off x="1760571" y="3204432"/>
                <a:ext cx="475190" cy="475190"/>
              </a:xfrm>
              <a:prstGeom prst="roundRect">
                <a:avLst/>
              </a:prstGeom>
              <a:solidFill>
                <a:schemeClr val="accent1"/>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sz="2000" b="1">
                  <a:solidFill>
                    <a:schemeClr val="bg1"/>
                  </a:solidFill>
                </a:endParaRPr>
              </a:p>
            </p:txBody>
          </p:sp>
          <p:sp>
            <p:nvSpPr>
              <p:cNvPr id="23" name="Icon1"/>
              <p:cNvSpPr/>
              <p:nvPr>
                <p:custDataLst>
                  <p:tags r:id="rId8"/>
                </p:custDataLst>
              </p:nvPr>
            </p:nvSpPr>
            <p:spPr bwMode="auto">
              <a:xfrm>
                <a:off x="1856624" y="3311008"/>
                <a:ext cx="283084" cy="283084"/>
              </a:xfrm>
              <a:custGeom>
                <a:avLst/>
                <a:gdLst>
                  <a:gd name="connsiteX0" fmla="*/ 266700 w 533400"/>
                  <a:gd name="connsiteY0" fmla="*/ 285750 h 533400"/>
                  <a:gd name="connsiteX1" fmla="*/ 409575 w 533400"/>
                  <a:gd name="connsiteY1" fmla="*/ 142875 h 533400"/>
                  <a:gd name="connsiteX2" fmla="*/ 266700 w 533400"/>
                  <a:gd name="connsiteY2" fmla="*/ 0 h 533400"/>
                  <a:gd name="connsiteX3" fmla="*/ 123825 w 533400"/>
                  <a:gd name="connsiteY3" fmla="*/ 142875 h 533400"/>
                  <a:gd name="connsiteX4" fmla="*/ 266700 w 533400"/>
                  <a:gd name="connsiteY4" fmla="*/ 285750 h 533400"/>
                  <a:gd name="connsiteX5" fmla="*/ 266700 w 533400"/>
                  <a:gd name="connsiteY5" fmla="*/ 19050 h 533400"/>
                  <a:gd name="connsiteX6" fmla="*/ 390525 w 533400"/>
                  <a:gd name="connsiteY6" fmla="*/ 142875 h 533400"/>
                  <a:gd name="connsiteX7" fmla="*/ 266700 w 533400"/>
                  <a:gd name="connsiteY7" fmla="*/ 266700 h 533400"/>
                  <a:gd name="connsiteX8" fmla="*/ 142875 w 533400"/>
                  <a:gd name="connsiteY8" fmla="*/ 142875 h 533400"/>
                  <a:gd name="connsiteX9" fmla="*/ 266700 w 533400"/>
                  <a:gd name="connsiteY9" fmla="*/ 19050 h 533400"/>
                  <a:gd name="connsiteX10" fmla="*/ 470535 w 533400"/>
                  <a:gd name="connsiteY10" fmla="*/ 333375 h 533400"/>
                  <a:gd name="connsiteX11" fmla="*/ 62865 w 533400"/>
                  <a:gd name="connsiteY11" fmla="*/ 333375 h 533400"/>
                  <a:gd name="connsiteX12" fmla="*/ 0 w 533400"/>
                  <a:gd name="connsiteY12" fmla="*/ 396240 h 533400"/>
                  <a:gd name="connsiteX13" fmla="*/ 0 w 533400"/>
                  <a:gd name="connsiteY13" fmla="*/ 533400 h 533400"/>
                  <a:gd name="connsiteX14" fmla="*/ 19050 w 533400"/>
                  <a:gd name="connsiteY14" fmla="*/ 533400 h 533400"/>
                  <a:gd name="connsiteX15" fmla="*/ 19050 w 533400"/>
                  <a:gd name="connsiteY15" fmla="*/ 403860 h 533400"/>
                  <a:gd name="connsiteX16" fmla="*/ 70485 w 533400"/>
                  <a:gd name="connsiteY16" fmla="*/ 352425 h 533400"/>
                  <a:gd name="connsiteX17" fmla="*/ 462915 w 533400"/>
                  <a:gd name="connsiteY17" fmla="*/ 352425 h 533400"/>
                  <a:gd name="connsiteX18" fmla="*/ 514350 w 533400"/>
                  <a:gd name="connsiteY18" fmla="*/ 403860 h 533400"/>
                  <a:gd name="connsiteX19" fmla="*/ 514350 w 533400"/>
                  <a:gd name="connsiteY19" fmla="*/ 533400 h 533400"/>
                  <a:gd name="connsiteX20" fmla="*/ 533400 w 533400"/>
                  <a:gd name="connsiteY20" fmla="*/ 533400 h 533400"/>
                  <a:gd name="connsiteX21" fmla="*/ 533400 w 533400"/>
                  <a:gd name="connsiteY21" fmla="*/ 396240 h 533400"/>
                  <a:gd name="connsiteX22" fmla="*/ 470535 w 533400"/>
                  <a:gd name="connsiteY22" fmla="*/ 333375 h 533400"/>
                  <a:gd name="connsiteX23" fmla="*/ 342900 w 533400"/>
                  <a:gd name="connsiteY23" fmla="*/ 466725 h 533400"/>
                  <a:gd name="connsiteX24" fmla="*/ 457200 w 533400"/>
                  <a:gd name="connsiteY24" fmla="*/ 466725 h 533400"/>
                  <a:gd name="connsiteX25" fmla="*/ 457200 w 533400"/>
                  <a:gd name="connsiteY25" fmla="*/ 447675 h 533400"/>
                  <a:gd name="connsiteX26" fmla="*/ 342900 w 533400"/>
                  <a:gd name="connsiteY26" fmla="*/ 447675 h 533400"/>
                  <a:gd name="connsiteX27" fmla="*/ 342900 w 533400"/>
                  <a:gd name="connsiteY27" fmla="*/ 46672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33400" h="533400">
                    <a:moveTo>
                      <a:pt x="266700" y="285750"/>
                    </a:moveTo>
                    <a:cubicBezTo>
                      <a:pt x="345758" y="285750"/>
                      <a:pt x="409575" y="221933"/>
                      <a:pt x="409575" y="142875"/>
                    </a:cubicBezTo>
                    <a:cubicBezTo>
                      <a:pt x="409575" y="63818"/>
                      <a:pt x="345758" y="0"/>
                      <a:pt x="266700" y="0"/>
                    </a:cubicBezTo>
                    <a:cubicBezTo>
                      <a:pt x="187643" y="0"/>
                      <a:pt x="123825" y="63818"/>
                      <a:pt x="123825" y="142875"/>
                    </a:cubicBezTo>
                    <a:cubicBezTo>
                      <a:pt x="123825" y="221933"/>
                      <a:pt x="187643" y="285750"/>
                      <a:pt x="266700" y="285750"/>
                    </a:cubicBezTo>
                    <a:close/>
                    <a:moveTo>
                      <a:pt x="266700" y="19050"/>
                    </a:moveTo>
                    <a:cubicBezTo>
                      <a:pt x="335280" y="19050"/>
                      <a:pt x="390525" y="74295"/>
                      <a:pt x="390525" y="142875"/>
                    </a:cubicBezTo>
                    <a:cubicBezTo>
                      <a:pt x="390525" y="211455"/>
                      <a:pt x="335280" y="266700"/>
                      <a:pt x="266700" y="266700"/>
                    </a:cubicBezTo>
                    <a:cubicBezTo>
                      <a:pt x="198120" y="266700"/>
                      <a:pt x="142875" y="211455"/>
                      <a:pt x="142875" y="142875"/>
                    </a:cubicBezTo>
                    <a:cubicBezTo>
                      <a:pt x="142875" y="74295"/>
                      <a:pt x="198120" y="19050"/>
                      <a:pt x="266700" y="19050"/>
                    </a:cubicBezTo>
                    <a:close/>
                    <a:moveTo>
                      <a:pt x="470535" y="333375"/>
                    </a:moveTo>
                    <a:lnTo>
                      <a:pt x="62865" y="333375"/>
                    </a:lnTo>
                    <a:lnTo>
                      <a:pt x="0" y="396240"/>
                    </a:lnTo>
                    <a:lnTo>
                      <a:pt x="0" y="533400"/>
                    </a:lnTo>
                    <a:lnTo>
                      <a:pt x="19050" y="533400"/>
                    </a:lnTo>
                    <a:lnTo>
                      <a:pt x="19050" y="403860"/>
                    </a:lnTo>
                    <a:lnTo>
                      <a:pt x="70485" y="352425"/>
                    </a:lnTo>
                    <a:lnTo>
                      <a:pt x="462915" y="352425"/>
                    </a:lnTo>
                    <a:lnTo>
                      <a:pt x="514350" y="403860"/>
                    </a:lnTo>
                    <a:lnTo>
                      <a:pt x="514350" y="533400"/>
                    </a:lnTo>
                    <a:lnTo>
                      <a:pt x="533400" y="533400"/>
                    </a:lnTo>
                    <a:lnTo>
                      <a:pt x="533400" y="396240"/>
                    </a:lnTo>
                    <a:lnTo>
                      <a:pt x="470535" y="333375"/>
                    </a:lnTo>
                    <a:close/>
                    <a:moveTo>
                      <a:pt x="342900" y="466725"/>
                    </a:moveTo>
                    <a:lnTo>
                      <a:pt x="457200" y="466725"/>
                    </a:lnTo>
                    <a:lnTo>
                      <a:pt x="457200" y="447675"/>
                    </a:lnTo>
                    <a:lnTo>
                      <a:pt x="342900" y="447675"/>
                    </a:lnTo>
                    <a:lnTo>
                      <a:pt x="342900" y="466725"/>
                    </a:lnTo>
                    <a:close/>
                  </a:path>
                </a:pathLst>
              </a:custGeom>
              <a:solidFill>
                <a:srgbClr val="FFFFFF"/>
              </a:solidFill>
              <a:ln>
                <a:noFill/>
              </a:ln>
            </p:spPr>
            <p:txBody>
              <a:bodyPr/>
              <a:lstStyle/>
              <a:p>
                <a:endParaRPr lang="zh-CN" altLang="en-US"/>
              </a:p>
            </p:txBody>
          </p:sp>
          <p:sp>
            <p:nvSpPr>
              <p:cNvPr id="24" name="Bullet1"/>
              <p:cNvSpPr txBox="1"/>
              <p:nvPr>
                <p:custDataLst>
                  <p:tags r:id="rId9"/>
                </p:custDataLst>
              </p:nvPr>
            </p:nvSpPr>
            <p:spPr>
              <a:xfrm>
                <a:off x="904151" y="4040918"/>
                <a:ext cx="2188032" cy="581879"/>
              </a:xfrm>
              <a:prstGeom prst="rect">
                <a:avLst/>
              </a:prstGeom>
              <a:noFill/>
            </p:spPr>
            <p:txBody>
              <a:bodyPr wrap="square" rtlCol="0" anchor="b" anchorCtr="1">
                <a:normAutofit/>
              </a:bodyPr>
              <a:lstStyle/>
              <a:p>
                <a:pPr marL="0" marR="0" lvl="0" indent="0" algn="ctr" defTabSz="913765" rtl="0" eaLnBrk="1" fontAlgn="auto" latinLnBrk="0" hangingPunct="1">
                  <a:spcBef>
                    <a:spcPts val="0"/>
                  </a:spcBef>
                  <a:spcAft>
                    <a:spcPts val="0"/>
                  </a:spcAft>
                  <a:buClrTx/>
                  <a:buSzPct val="25000"/>
                  <a:buFontTx/>
                  <a:buNone/>
                  <a:defRPr/>
                </a:pPr>
                <a:r>
                  <a:rPr kumimoji="0" lang="zh-CN" altLang="en-US" b="1" i="0" u="none" strike="noStrike" kern="1200" cap="none" spc="0" normalizeH="0" baseline="0" noProof="0" dirty="0">
                    <a:ln>
                      <a:noFill/>
                    </a:ln>
                    <a:effectLst/>
                    <a:uLnTx/>
                    <a:uFillTx/>
                  </a:rPr>
                  <a:t>单击此处添加标题</a:t>
                </a:r>
                <a:endParaRPr kumimoji="0" lang="en-US" altLang="zh-CN" b="1" i="0" u="none" strike="noStrike" kern="1200" cap="none" spc="0" normalizeH="0" baseline="0" noProof="0" dirty="0">
                  <a:ln>
                    <a:noFill/>
                  </a:ln>
                  <a:effectLst/>
                  <a:uLnTx/>
                  <a:uFillTx/>
                </a:endParaRPr>
              </a:p>
            </p:txBody>
          </p:sp>
          <p:sp>
            <p:nvSpPr>
              <p:cNvPr id="25" name="Text1"/>
              <p:cNvSpPr txBox="1"/>
              <p:nvPr>
                <p:custDataLst>
                  <p:tags r:id="rId10"/>
                </p:custDataLst>
              </p:nvPr>
            </p:nvSpPr>
            <p:spPr>
              <a:xfrm>
                <a:off x="904151" y="4622797"/>
                <a:ext cx="2188032" cy="1187893"/>
              </a:xfrm>
              <a:prstGeom prst="rect">
                <a:avLst/>
              </a:prstGeom>
              <a:noFill/>
            </p:spPr>
            <p:txBody>
              <a:bodyPr wrap="square" rtlCol="0" anchor="t" anchorCtr="1">
                <a:normAutofit/>
              </a:bodyPr>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200" i="0" u="none" strike="noStrike" kern="1200" cap="none" spc="0" normalizeH="0" baseline="0" noProof="0">
                    <a:ln>
                      <a:noFill/>
                    </a:ln>
                    <a:effectLst/>
                    <a:uLnTx/>
                    <a:uFillTx/>
                  </a:rPr>
                  <a:t>请输入文本内容请输入文本内容请输入文本内容请输入文本内容</a:t>
                </a:r>
                <a:endParaRPr kumimoji="0" lang="zh-CN" altLang="en-US" sz="1200" i="0" u="none" strike="noStrike" kern="1200" cap="none" spc="0" normalizeH="0" baseline="0" noProof="0">
                  <a:ln>
                    <a:noFill/>
                  </a:ln>
                  <a:effectLst/>
                  <a:uLnTx/>
                  <a:uFillTx/>
                </a:endParaRPr>
              </a:p>
            </p:txBody>
          </p:sp>
        </p:grpSp>
        <p:grpSp>
          <p:nvGrpSpPr>
            <p:cNvPr id="6" name="组合 5"/>
            <p:cNvGrpSpPr/>
            <p:nvPr/>
          </p:nvGrpSpPr>
          <p:grpSpPr>
            <a:xfrm>
              <a:off x="3631806" y="3196812"/>
              <a:ext cx="2188032" cy="2613878"/>
              <a:chOff x="3631806" y="3196812"/>
              <a:chExt cx="2188032" cy="2613878"/>
            </a:xfrm>
          </p:grpSpPr>
          <p:sp>
            <p:nvSpPr>
              <p:cNvPr id="18" name="Bullet2"/>
              <p:cNvSpPr txBox="1"/>
              <p:nvPr>
                <p:custDataLst>
                  <p:tags r:id="rId11"/>
                </p:custDataLst>
              </p:nvPr>
            </p:nvSpPr>
            <p:spPr>
              <a:xfrm>
                <a:off x="3631806" y="4040918"/>
                <a:ext cx="2188032" cy="581879"/>
              </a:xfrm>
              <a:prstGeom prst="rect">
                <a:avLst/>
              </a:prstGeom>
              <a:noFill/>
            </p:spPr>
            <p:txBody>
              <a:bodyPr wrap="square" rtlCol="0" anchor="b" anchorCtr="1">
                <a:normAutofit/>
              </a:bodyPr>
              <a:lstStyle/>
              <a:p>
                <a:pPr marL="0" marR="0" lvl="0" indent="0" algn="ctr" defTabSz="913765" rtl="0" eaLnBrk="1" fontAlgn="auto" latinLnBrk="0" hangingPunct="1">
                  <a:spcBef>
                    <a:spcPts val="0"/>
                  </a:spcBef>
                  <a:spcAft>
                    <a:spcPts val="0"/>
                  </a:spcAft>
                  <a:buClrTx/>
                  <a:buSzPct val="25000"/>
                  <a:buFontTx/>
                  <a:buNone/>
                  <a:defRPr/>
                </a:pPr>
                <a:r>
                  <a:rPr kumimoji="0" lang="zh-CN" altLang="en-US" b="1" i="0" u="none" strike="noStrike" kern="1200" cap="none" spc="0" normalizeH="0" baseline="0" noProof="0" dirty="0">
                    <a:ln>
                      <a:noFill/>
                    </a:ln>
                    <a:effectLst/>
                    <a:uLnTx/>
                    <a:uFillTx/>
                  </a:rPr>
                  <a:t>单击此处添加标题</a:t>
                </a:r>
                <a:endParaRPr kumimoji="0" lang="en-US" altLang="zh-CN" b="1" i="0" u="none" strike="noStrike" kern="1200" cap="none" spc="0" normalizeH="0" baseline="0" noProof="0" dirty="0">
                  <a:ln>
                    <a:noFill/>
                  </a:ln>
                  <a:effectLst/>
                  <a:uLnTx/>
                  <a:uFillTx/>
                </a:endParaRPr>
              </a:p>
            </p:txBody>
          </p:sp>
          <p:sp>
            <p:nvSpPr>
              <p:cNvPr id="19" name="IconBackground2"/>
              <p:cNvSpPr/>
              <p:nvPr>
                <p:custDataLst>
                  <p:tags r:id="rId12"/>
                </p:custDataLst>
              </p:nvPr>
            </p:nvSpPr>
            <p:spPr>
              <a:xfrm>
                <a:off x="4488226" y="3196812"/>
                <a:ext cx="475190" cy="475190"/>
              </a:xfrm>
              <a:prstGeom prst="roundRect">
                <a:avLst/>
              </a:prstGeom>
              <a:solidFill>
                <a:schemeClr val="accent2">
                  <a:alpha val="70000"/>
                </a:schemeClr>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sz="2000" b="1" dirty="0">
                  <a:solidFill>
                    <a:schemeClr val="bg1"/>
                  </a:solidFill>
                </a:endParaRPr>
              </a:p>
            </p:txBody>
          </p:sp>
          <p:sp>
            <p:nvSpPr>
              <p:cNvPr id="20" name="Icon2"/>
              <p:cNvSpPr/>
              <p:nvPr>
                <p:custDataLst>
                  <p:tags r:id="rId13"/>
                </p:custDataLst>
              </p:nvPr>
            </p:nvSpPr>
            <p:spPr bwMode="auto">
              <a:xfrm>
                <a:off x="4573719" y="3314733"/>
                <a:ext cx="304205" cy="254589"/>
              </a:xfrm>
              <a:custGeom>
                <a:avLst/>
                <a:gdLst>
                  <a:gd name="connsiteX0" fmla="*/ 497438 w 534923"/>
                  <a:gd name="connsiteY0" fmla="*/ 621 h 447675"/>
                  <a:gd name="connsiteX1" fmla="*/ 497438 w 534923"/>
                  <a:gd name="connsiteY1" fmla="*/ 133971 h 447675"/>
                  <a:gd name="connsiteX2" fmla="*/ 536300 w 534923"/>
                  <a:gd name="connsiteY2" fmla="*/ 133971 h 447675"/>
                  <a:gd name="connsiteX3" fmla="*/ 515821 w 534923"/>
                  <a:gd name="connsiteY3" fmla="*/ 400671 h 447675"/>
                  <a:gd name="connsiteX4" fmla="*/ 459338 w 534923"/>
                  <a:gd name="connsiteY4" fmla="*/ 400671 h 447675"/>
                  <a:gd name="connsiteX5" fmla="*/ 459338 w 534923"/>
                  <a:gd name="connsiteY5" fmla="*/ 448296 h 447675"/>
                  <a:gd name="connsiteX6" fmla="*/ 440288 w 534923"/>
                  <a:gd name="connsiteY6" fmla="*/ 448296 h 447675"/>
                  <a:gd name="connsiteX7" fmla="*/ 440288 w 534923"/>
                  <a:gd name="connsiteY7" fmla="*/ 400671 h 447675"/>
                  <a:gd name="connsiteX8" fmla="*/ 97388 w 534923"/>
                  <a:gd name="connsiteY8" fmla="*/ 400671 h 447675"/>
                  <a:gd name="connsiteX9" fmla="*/ 97388 w 534923"/>
                  <a:gd name="connsiteY9" fmla="*/ 448296 h 447675"/>
                  <a:gd name="connsiteX10" fmla="*/ 78338 w 534923"/>
                  <a:gd name="connsiteY10" fmla="*/ 448296 h 447675"/>
                  <a:gd name="connsiteX11" fmla="*/ 78338 w 534923"/>
                  <a:gd name="connsiteY11" fmla="*/ 400671 h 447675"/>
                  <a:gd name="connsiteX12" fmla="*/ 21855 w 534923"/>
                  <a:gd name="connsiteY12" fmla="*/ 400671 h 447675"/>
                  <a:gd name="connsiteX13" fmla="*/ 1376 w 534923"/>
                  <a:gd name="connsiteY13" fmla="*/ 133971 h 447675"/>
                  <a:gd name="connsiteX14" fmla="*/ 49763 w 534923"/>
                  <a:gd name="connsiteY14" fmla="*/ 133971 h 447675"/>
                  <a:gd name="connsiteX15" fmla="*/ 49763 w 534923"/>
                  <a:gd name="connsiteY15" fmla="*/ 621 h 447675"/>
                  <a:gd name="connsiteX16" fmla="*/ 497438 w 534923"/>
                  <a:gd name="connsiteY16" fmla="*/ 621 h 447675"/>
                  <a:gd name="connsiteX17" fmla="*/ 89482 w 534923"/>
                  <a:gd name="connsiteY17" fmla="*/ 153021 h 447675"/>
                  <a:gd name="connsiteX18" fmla="*/ 21950 w 534923"/>
                  <a:gd name="connsiteY18" fmla="*/ 153021 h 447675"/>
                  <a:gd name="connsiteX19" fmla="*/ 39571 w 534923"/>
                  <a:gd name="connsiteY19" fmla="*/ 381621 h 447675"/>
                  <a:gd name="connsiteX20" fmla="*/ 498200 w 534923"/>
                  <a:gd name="connsiteY20" fmla="*/ 381621 h 447675"/>
                  <a:gd name="connsiteX21" fmla="*/ 515821 w 534923"/>
                  <a:gd name="connsiteY21" fmla="*/ 153021 h 447675"/>
                  <a:gd name="connsiteX22" fmla="*/ 448289 w 534923"/>
                  <a:gd name="connsiteY22" fmla="*/ 153021 h 447675"/>
                  <a:gd name="connsiteX23" fmla="*/ 419714 w 534923"/>
                  <a:gd name="connsiteY23" fmla="*/ 305421 h 447675"/>
                  <a:gd name="connsiteX24" fmla="*/ 118152 w 534923"/>
                  <a:gd name="connsiteY24" fmla="*/ 305421 h 447675"/>
                  <a:gd name="connsiteX25" fmla="*/ 89482 w 534923"/>
                  <a:gd name="connsiteY25" fmla="*/ 153021 h 447675"/>
                  <a:gd name="connsiteX26" fmla="*/ 478388 w 534923"/>
                  <a:gd name="connsiteY26" fmla="*/ 19671 h 447675"/>
                  <a:gd name="connsiteX27" fmla="*/ 68813 w 534923"/>
                  <a:gd name="connsiteY27" fmla="*/ 19671 h 447675"/>
                  <a:gd name="connsiteX28" fmla="*/ 68813 w 534923"/>
                  <a:gd name="connsiteY28" fmla="*/ 133971 h 447675"/>
                  <a:gd name="connsiteX29" fmla="*/ 105293 w 534923"/>
                  <a:gd name="connsiteY29" fmla="*/ 133971 h 447675"/>
                  <a:gd name="connsiteX30" fmla="*/ 133869 w 534923"/>
                  <a:gd name="connsiteY30" fmla="*/ 286371 h 447675"/>
                  <a:gd name="connsiteX31" fmla="*/ 403807 w 534923"/>
                  <a:gd name="connsiteY31" fmla="*/ 286371 h 447675"/>
                  <a:gd name="connsiteX32" fmla="*/ 432382 w 534923"/>
                  <a:gd name="connsiteY32" fmla="*/ 133971 h 447675"/>
                  <a:gd name="connsiteX33" fmla="*/ 478388 w 534923"/>
                  <a:gd name="connsiteY33" fmla="*/ 133971 h 447675"/>
                  <a:gd name="connsiteX34" fmla="*/ 478388 w 534923"/>
                  <a:gd name="connsiteY34" fmla="*/ 19671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4923" h="447675">
                    <a:moveTo>
                      <a:pt x="497438" y="621"/>
                    </a:moveTo>
                    <a:lnTo>
                      <a:pt x="497438" y="133971"/>
                    </a:lnTo>
                    <a:lnTo>
                      <a:pt x="536300" y="133971"/>
                    </a:lnTo>
                    <a:lnTo>
                      <a:pt x="515821" y="400671"/>
                    </a:lnTo>
                    <a:lnTo>
                      <a:pt x="459338" y="400671"/>
                    </a:lnTo>
                    <a:lnTo>
                      <a:pt x="459338" y="448296"/>
                    </a:lnTo>
                    <a:lnTo>
                      <a:pt x="440288" y="448296"/>
                    </a:lnTo>
                    <a:lnTo>
                      <a:pt x="440288" y="400671"/>
                    </a:lnTo>
                    <a:lnTo>
                      <a:pt x="97388" y="400671"/>
                    </a:lnTo>
                    <a:lnTo>
                      <a:pt x="97388" y="448296"/>
                    </a:lnTo>
                    <a:lnTo>
                      <a:pt x="78338" y="448296"/>
                    </a:lnTo>
                    <a:lnTo>
                      <a:pt x="78338" y="400671"/>
                    </a:lnTo>
                    <a:lnTo>
                      <a:pt x="21855" y="400671"/>
                    </a:lnTo>
                    <a:lnTo>
                      <a:pt x="1376" y="133971"/>
                    </a:lnTo>
                    <a:lnTo>
                      <a:pt x="49763" y="133971"/>
                    </a:lnTo>
                    <a:lnTo>
                      <a:pt x="49763" y="621"/>
                    </a:lnTo>
                    <a:lnTo>
                      <a:pt x="497438" y="621"/>
                    </a:lnTo>
                    <a:close/>
                    <a:moveTo>
                      <a:pt x="89482" y="153021"/>
                    </a:moveTo>
                    <a:lnTo>
                      <a:pt x="21950" y="153021"/>
                    </a:lnTo>
                    <a:lnTo>
                      <a:pt x="39571" y="381621"/>
                    </a:lnTo>
                    <a:lnTo>
                      <a:pt x="498200" y="381621"/>
                    </a:lnTo>
                    <a:lnTo>
                      <a:pt x="515821" y="153021"/>
                    </a:lnTo>
                    <a:lnTo>
                      <a:pt x="448289" y="153021"/>
                    </a:lnTo>
                    <a:lnTo>
                      <a:pt x="419714" y="305421"/>
                    </a:lnTo>
                    <a:lnTo>
                      <a:pt x="118152" y="305421"/>
                    </a:lnTo>
                    <a:lnTo>
                      <a:pt x="89482" y="153021"/>
                    </a:lnTo>
                    <a:close/>
                    <a:moveTo>
                      <a:pt x="478388" y="19671"/>
                    </a:moveTo>
                    <a:lnTo>
                      <a:pt x="68813" y="19671"/>
                    </a:lnTo>
                    <a:lnTo>
                      <a:pt x="68813" y="133971"/>
                    </a:lnTo>
                    <a:lnTo>
                      <a:pt x="105293" y="133971"/>
                    </a:lnTo>
                    <a:lnTo>
                      <a:pt x="133869" y="286371"/>
                    </a:lnTo>
                    <a:lnTo>
                      <a:pt x="403807" y="286371"/>
                    </a:lnTo>
                    <a:lnTo>
                      <a:pt x="432382" y="133971"/>
                    </a:lnTo>
                    <a:lnTo>
                      <a:pt x="478388" y="133971"/>
                    </a:lnTo>
                    <a:lnTo>
                      <a:pt x="478388" y="19671"/>
                    </a:lnTo>
                    <a:close/>
                  </a:path>
                </a:pathLst>
              </a:custGeom>
              <a:solidFill>
                <a:srgbClr val="FFFFFF"/>
              </a:solidFill>
              <a:ln>
                <a:noFill/>
              </a:ln>
            </p:spPr>
            <p:txBody>
              <a:bodyPr/>
              <a:lstStyle/>
              <a:p>
                <a:endParaRPr lang="zh-CN" altLang="en-US"/>
              </a:p>
            </p:txBody>
          </p:sp>
          <p:sp>
            <p:nvSpPr>
              <p:cNvPr id="21" name="Text2"/>
              <p:cNvSpPr txBox="1"/>
              <p:nvPr>
                <p:custDataLst>
                  <p:tags r:id="rId14"/>
                </p:custDataLst>
              </p:nvPr>
            </p:nvSpPr>
            <p:spPr>
              <a:xfrm>
                <a:off x="3631806" y="4622797"/>
                <a:ext cx="2188032" cy="1187893"/>
              </a:xfrm>
              <a:prstGeom prst="rect">
                <a:avLst/>
              </a:prstGeom>
              <a:noFill/>
            </p:spPr>
            <p:txBody>
              <a:bodyPr wrap="square" rtlCol="0" anchor="t" anchorCtr="1">
                <a:normAutofit/>
              </a:bodyPr>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200" i="0" u="none" strike="noStrike" kern="1200" cap="none" spc="0" normalizeH="0" baseline="0" noProof="0">
                    <a:ln>
                      <a:noFill/>
                    </a:ln>
                    <a:effectLst/>
                    <a:uLnTx/>
                    <a:uFillTx/>
                  </a:rPr>
                  <a:t>请输入文本内容请输入文本内容请输入文本内容请输入文本内容</a:t>
                </a:r>
                <a:endParaRPr kumimoji="0" lang="zh-CN" altLang="en-US" sz="1200" i="0" u="none" strike="noStrike" kern="1200" cap="none" spc="0" normalizeH="0" baseline="0" noProof="0">
                  <a:ln>
                    <a:noFill/>
                  </a:ln>
                  <a:effectLst/>
                  <a:uLnTx/>
                  <a:uFillTx/>
                </a:endParaRPr>
              </a:p>
            </p:txBody>
          </p:sp>
        </p:grpSp>
        <p:grpSp>
          <p:nvGrpSpPr>
            <p:cNvPr id="7" name="组合 6"/>
            <p:cNvGrpSpPr/>
            <p:nvPr/>
          </p:nvGrpSpPr>
          <p:grpSpPr>
            <a:xfrm>
              <a:off x="6359461" y="3204432"/>
              <a:ext cx="2188032" cy="2606258"/>
              <a:chOff x="6359461" y="3204432"/>
              <a:chExt cx="2188032" cy="2606258"/>
            </a:xfrm>
          </p:grpSpPr>
          <p:sp>
            <p:nvSpPr>
              <p:cNvPr id="14" name="Bullet3"/>
              <p:cNvSpPr txBox="1"/>
              <p:nvPr>
                <p:custDataLst>
                  <p:tags r:id="rId15"/>
                </p:custDataLst>
              </p:nvPr>
            </p:nvSpPr>
            <p:spPr>
              <a:xfrm>
                <a:off x="6359461" y="4040918"/>
                <a:ext cx="2188032" cy="581879"/>
              </a:xfrm>
              <a:prstGeom prst="rect">
                <a:avLst/>
              </a:prstGeom>
              <a:noFill/>
            </p:spPr>
            <p:txBody>
              <a:bodyPr wrap="square" rtlCol="0" anchor="b" anchorCtr="1">
                <a:normAutofit/>
              </a:bodyPr>
              <a:lstStyle/>
              <a:p>
                <a:pPr marL="0" marR="0" lvl="0" indent="0" algn="ctr" defTabSz="913765" rtl="0" eaLnBrk="1" fontAlgn="auto" latinLnBrk="0" hangingPunct="1">
                  <a:spcBef>
                    <a:spcPts val="0"/>
                  </a:spcBef>
                  <a:spcAft>
                    <a:spcPts val="0"/>
                  </a:spcAft>
                  <a:buClrTx/>
                  <a:buSzPct val="25000"/>
                  <a:buFontTx/>
                  <a:buNone/>
                  <a:defRPr/>
                </a:pPr>
                <a:r>
                  <a:rPr kumimoji="0" lang="zh-CN" altLang="en-US" b="1" i="0" u="none" strike="noStrike" kern="1200" cap="none" spc="0" normalizeH="0" baseline="0" noProof="0" dirty="0">
                    <a:ln>
                      <a:noFill/>
                    </a:ln>
                    <a:effectLst/>
                    <a:uLnTx/>
                    <a:uFillTx/>
                  </a:rPr>
                  <a:t>单击此处添加标题</a:t>
                </a:r>
                <a:endParaRPr kumimoji="0" lang="en-US" altLang="zh-CN" b="1" i="0" u="none" strike="noStrike" kern="1200" cap="none" spc="0" normalizeH="0" baseline="0" noProof="0" dirty="0">
                  <a:ln>
                    <a:noFill/>
                  </a:ln>
                  <a:effectLst/>
                  <a:uLnTx/>
                  <a:uFillTx/>
                </a:endParaRPr>
              </a:p>
            </p:txBody>
          </p:sp>
          <p:sp>
            <p:nvSpPr>
              <p:cNvPr id="15" name="IconBackground3"/>
              <p:cNvSpPr/>
              <p:nvPr>
                <p:custDataLst>
                  <p:tags r:id="rId16"/>
                </p:custDataLst>
              </p:nvPr>
            </p:nvSpPr>
            <p:spPr>
              <a:xfrm>
                <a:off x="7215881" y="3204432"/>
                <a:ext cx="475190" cy="475190"/>
              </a:xfrm>
              <a:prstGeom prst="roundRect">
                <a:avLst/>
              </a:prstGeom>
              <a:solidFill>
                <a:schemeClr val="accent1"/>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sz="2000" b="1" dirty="0">
                  <a:solidFill>
                    <a:schemeClr val="bg1"/>
                  </a:solidFill>
                </a:endParaRPr>
              </a:p>
            </p:txBody>
          </p:sp>
          <p:sp>
            <p:nvSpPr>
              <p:cNvPr id="16" name="Icon3"/>
              <p:cNvSpPr/>
              <p:nvPr>
                <p:custDataLst>
                  <p:tags r:id="rId17"/>
                </p:custDataLst>
              </p:nvPr>
            </p:nvSpPr>
            <p:spPr bwMode="auto">
              <a:xfrm>
                <a:off x="7311239" y="3289319"/>
                <a:ext cx="284474" cy="305417"/>
              </a:xfrm>
              <a:custGeom>
                <a:avLst/>
                <a:gdLst>
                  <a:gd name="connsiteX0" fmla="*/ 372973 w 496823"/>
                  <a:gd name="connsiteY0" fmla="*/ 621 h 533400"/>
                  <a:gd name="connsiteX1" fmla="*/ 372973 w 496823"/>
                  <a:gd name="connsiteY1" fmla="*/ 19671 h 533400"/>
                  <a:gd name="connsiteX2" fmla="*/ 344398 w 496823"/>
                  <a:gd name="connsiteY2" fmla="*/ 19671 h 533400"/>
                  <a:gd name="connsiteX3" fmla="*/ 344398 w 496823"/>
                  <a:gd name="connsiteY3" fmla="*/ 141877 h 533400"/>
                  <a:gd name="connsiteX4" fmla="*/ 497560 w 496823"/>
                  <a:gd name="connsiteY4" fmla="*/ 486301 h 533400"/>
                  <a:gd name="connsiteX5" fmla="*/ 479558 w 496823"/>
                  <a:gd name="connsiteY5" fmla="*/ 534021 h 533400"/>
                  <a:gd name="connsiteX6" fmla="*/ 18738 w 496823"/>
                  <a:gd name="connsiteY6" fmla="*/ 534021 h 533400"/>
                  <a:gd name="connsiteX7" fmla="*/ 736 w 496823"/>
                  <a:gd name="connsiteY7" fmla="*/ 486301 h 533400"/>
                  <a:gd name="connsiteX8" fmla="*/ 153898 w 496823"/>
                  <a:gd name="connsiteY8" fmla="*/ 141877 h 533400"/>
                  <a:gd name="connsiteX9" fmla="*/ 153898 w 496823"/>
                  <a:gd name="connsiteY9" fmla="*/ 19671 h 533400"/>
                  <a:gd name="connsiteX10" fmla="*/ 125323 w 496823"/>
                  <a:gd name="connsiteY10" fmla="*/ 19671 h 533400"/>
                  <a:gd name="connsiteX11" fmla="*/ 125323 w 496823"/>
                  <a:gd name="connsiteY11" fmla="*/ 621 h 533400"/>
                  <a:gd name="connsiteX12" fmla="*/ 372973 w 496823"/>
                  <a:gd name="connsiteY12" fmla="*/ 621 h 533400"/>
                  <a:gd name="connsiteX13" fmla="*/ 257530 w 496823"/>
                  <a:gd name="connsiteY13" fmla="*/ 416006 h 533400"/>
                  <a:gd name="connsiteX14" fmla="*/ 254672 w 496823"/>
                  <a:gd name="connsiteY14" fmla="*/ 418007 h 533400"/>
                  <a:gd name="connsiteX15" fmla="*/ 53504 w 496823"/>
                  <a:gd name="connsiteY15" fmla="*/ 414578 h 533400"/>
                  <a:gd name="connsiteX16" fmla="*/ 21310 w 496823"/>
                  <a:gd name="connsiteY16" fmla="*/ 486967 h 533400"/>
                  <a:gd name="connsiteX17" fmla="*/ 31883 w 496823"/>
                  <a:gd name="connsiteY17" fmla="*/ 515066 h 533400"/>
                  <a:gd name="connsiteX18" fmla="*/ 466413 w 496823"/>
                  <a:gd name="connsiteY18" fmla="*/ 515066 h 533400"/>
                  <a:gd name="connsiteX19" fmla="*/ 476986 w 496823"/>
                  <a:gd name="connsiteY19" fmla="*/ 486967 h 533400"/>
                  <a:gd name="connsiteX20" fmla="*/ 441267 w 496823"/>
                  <a:gd name="connsiteY20" fmla="*/ 406672 h 533400"/>
                  <a:gd name="connsiteX21" fmla="*/ 257530 w 496823"/>
                  <a:gd name="connsiteY21" fmla="*/ 416006 h 533400"/>
                  <a:gd name="connsiteX22" fmla="*/ 325348 w 496823"/>
                  <a:gd name="connsiteY22" fmla="*/ 19671 h 533400"/>
                  <a:gd name="connsiteX23" fmla="*/ 172948 w 496823"/>
                  <a:gd name="connsiteY23" fmla="*/ 19671 h 533400"/>
                  <a:gd name="connsiteX24" fmla="*/ 172948 w 496823"/>
                  <a:gd name="connsiteY24" fmla="*/ 145877 h 533400"/>
                  <a:gd name="connsiteX25" fmla="*/ 61315 w 496823"/>
                  <a:gd name="connsiteY25" fmla="*/ 396956 h 533400"/>
                  <a:gd name="connsiteX26" fmla="*/ 240957 w 496823"/>
                  <a:gd name="connsiteY26" fmla="*/ 404291 h 533400"/>
                  <a:gd name="connsiteX27" fmla="*/ 243719 w 496823"/>
                  <a:gd name="connsiteY27" fmla="*/ 402385 h 533400"/>
                  <a:gd name="connsiteX28" fmla="*/ 430313 w 496823"/>
                  <a:gd name="connsiteY28" fmla="*/ 381716 h 533400"/>
                  <a:gd name="connsiteX29" fmla="*/ 325348 w 496823"/>
                  <a:gd name="connsiteY29" fmla="*/ 145877 h 533400"/>
                  <a:gd name="connsiteX30" fmla="*/ 325348 w 496823"/>
                  <a:gd name="connsiteY30" fmla="*/ 19671 h 533400"/>
                  <a:gd name="connsiteX31" fmla="*/ 311060 w 496823"/>
                  <a:gd name="connsiteY31" fmla="*/ 248271 h 533400"/>
                  <a:gd name="connsiteX32" fmla="*/ 353923 w 496823"/>
                  <a:gd name="connsiteY32" fmla="*/ 291134 h 533400"/>
                  <a:gd name="connsiteX33" fmla="*/ 311060 w 496823"/>
                  <a:gd name="connsiteY33" fmla="*/ 333996 h 533400"/>
                  <a:gd name="connsiteX34" fmla="*/ 268198 w 496823"/>
                  <a:gd name="connsiteY34" fmla="*/ 291134 h 533400"/>
                  <a:gd name="connsiteX35" fmla="*/ 311060 w 496823"/>
                  <a:gd name="connsiteY35" fmla="*/ 248271 h 533400"/>
                  <a:gd name="connsiteX36" fmla="*/ 311060 w 496823"/>
                  <a:gd name="connsiteY36" fmla="*/ 267321 h 533400"/>
                  <a:gd name="connsiteX37" fmla="*/ 287248 w 496823"/>
                  <a:gd name="connsiteY37" fmla="*/ 291134 h 533400"/>
                  <a:gd name="connsiteX38" fmla="*/ 311060 w 496823"/>
                  <a:gd name="connsiteY38" fmla="*/ 314946 h 533400"/>
                  <a:gd name="connsiteX39" fmla="*/ 334873 w 496823"/>
                  <a:gd name="connsiteY39" fmla="*/ 291134 h 533400"/>
                  <a:gd name="connsiteX40" fmla="*/ 311060 w 496823"/>
                  <a:gd name="connsiteY40" fmla="*/ 26732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96823" h="533400">
                    <a:moveTo>
                      <a:pt x="372973" y="621"/>
                    </a:moveTo>
                    <a:lnTo>
                      <a:pt x="372973" y="19671"/>
                    </a:lnTo>
                    <a:lnTo>
                      <a:pt x="344398" y="19671"/>
                    </a:lnTo>
                    <a:lnTo>
                      <a:pt x="344398" y="141877"/>
                    </a:lnTo>
                    <a:lnTo>
                      <a:pt x="497560" y="486301"/>
                    </a:lnTo>
                    <a:lnTo>
                      <a:pt x="479558" y="534021"/>
                    </a:lnTo>
                    <a:lnTo>
                      <a:pt x="18738" y="534021"/>
                    </a:lnTo>
                    <a:lnTo>
                      <a:pt x="736" y="486301"/>
                    </a:lnTo>
                    <a:lnTo>
                      <a:pt x="153898" y="141877"/>
                    </a:lnTo>
                    <a:lnTo>
                      <a:pt x="153898" y="19671"/>
                    </a:lnTo>
                    <a:lnTo>
                      <a:pt x="125323" y="19671"/>
                    </a:lnTo>
                    <a:lnTo>
                      <a:pt x="125323" y="621"/>
                    </a:lnTo>
                    <a:lnTo>
                      <a:pt x="372973" y="621"/>
                    </a:lnTo>
                    <a:close/>
                    <a:moveTo>
                      <a:pt x="257530" y="416006"/>
                    </a:moveTo>
                    <a:lnTo>
                      <a:pt x="254672" y="418007"/>
                    </a:lnTo>
                    <a:cubicBezTo>
                      <a:pt x="199142" y="457345"/>
                      <a:pt x="120656" y="455535"/>
                      <a:pt x="53504" y="414578"/>
                    </a:cubicBezTo>
                    <a:lnTo>
                      <a:pt x="21310" y="486967"/>
                    </a:lnTo>
                    <a:lnTo>
                      <a:pt x="31883" y="515066"/>
                    </a:lnTo>
                    <a:lnTo>
                      <a:pt x="466413" y="515066"/>
                    </a:lnTo>
                    <a:lnTo>
                      <a:pt x="476986" y="486967"/>
                    </a:lnTo>
                    <a:lnTo>
                      <a:pt x="441267" y="406672"/>
                    </a:lnTo>
                    <a:cubicBezTo>
                      <a:pt x="379926" y="379144"/>
                      <a:pt x="307060" y="382669"/>
                      <a:pt x="257530" y="416006"/>
                    </a:cubicBezTo>
                    <a:close/>
                    <a:moveTo>
                      <a:pt x="325348" y="19671"/>
                    </a:moveTo>
                    <a:lnTo>
                      <a:pt x="172948" y="19671"/>
                    </a:lnTo>
                    <a:lnTo>
                      <a:pt x="172948" y="145877"/>
                    </a:lnTo>
                    <a:lnTo>
                      <a:pt x="61315" y="396956"/>
                    </a:lnTo>
                    <a:cubicBezTo>
                      <a:pt x="121608" y="434771"/>
                      <a:pt x="191522" y="437342"/>
                      <a:pt x="240957" y="404291"/>
                    </a:cubicBezTo>
                    <a:lnTo>
                      <a:pt x="243719" y="402385"/>
                    </a:lnTo>
                    <a:cubicBezTo>
                      <a:pt x="294106" y="366762"/>
                      <a:pt x="366115" y="359618"/>
                      <a:pt x="430313" y="381716"/>
                    </a:cubicBezTo>
                    <a:lnTo>
                      <a:pt x="325348" y="145877"/>
                    </a:lnTo>
                    <a:lnTo>
                      <a:pt x="325348" y="19671"/>
                    </a:lnTo>
                    <a:close/>
                    <a:moveTo>
                      <a:pt x="311060" y="248271"/>
                    </a:moveTo>
                    <a:cubicBezTo>
                      <a:pt x="334778" y="248271"/>
                      <a:pt x="353923" y="267416"/>
                      <a:pt x="353923" y="291134"/>
                    </a:cubicBezTo>
                    <a:cubicBezTo>
                      <a:pt x="353923" y="314851"/>
                      <a:pt x="334778" y="333996"/>
                      <a:pt x="311060" y="333996"/>
                    </a:cubicBezTo>
                    <a:cubicBezTo>
                      <a:pt x="287343" y="333996"/>
                      <a:pt x="268198" y="314851"/>
                      <a:pt x="268198" y="291134"/>
                    </a:cubicBezTo>
                    <a:cubicBezTo>
                      <a:pt x="268198" y="267416"/>
                      <a:pt x="287343" y="248271"/>
                      <a:pt x="311060" y="248271"/>
                    </a:cubicBezTo>
                    <a:close/>
                    <a:moveTo>
                      <a:pt x="311060" y="267321"/>
                    </a:moveTo>
                    <a:cubicBezTo>
                      <a:pt x="297916" y="267321"/>
                      <a:pt x="287248" y="277989"/>
                      <a:pt x="287248" y="291134"/>
                    </a:cubicBezTo>
                    <a:cubicBezTo>
                      <a:pt x="287248" y="304278"/>
                      <a:pt x="297916" y="314946"/>
                      <a:pt x="311060" y="314946"/>
                    </a:cubicBezTo>
                    <a:cubicBezTo>
                      <a:pt x="324205" y="314946"/>
                      <a:pt x="334873" y="304278"/>
                      <a:pt x="334873" y="291134"/>
                    </a:cubicBezTo>
                    <a:cubicBezTo>
                      <a:pt x="334873" y="277989"/>
                      <a:pt x="324205" y="267321"/>
                      <a:pt x="311060" y="267321"/>
                    </a:cubicBezTo>
                    <a:close/>
                  </a:path>
                </a:pathLst>
              </a:custGeom>
              <a:solidFill>
                <a:srgbClr val="FFFFFF"/>
              </a:solidFill>
              <a:ln>
                <a:noFill/>
              </a:ln>
            </p:spPr>
            <p:txBody>
              <a:bodyPr/>
              <a:lstStyle/>
              <a:p>
                <a:endParaRPr lang="zh-CN" altLang="en-US"/>
              </a:p>
            </p:txBody>
          </p:sp>
          <p:sp>
            <p:nvSpPr>
              <p:cNvPr id="17" name="Text3"/>
              <p:cNvSpPr txBox="1"/>
              <p:nvPr>
                <p:custDataLst>
                  <p:tags r:id="rId18"/>
                </p:custDataLst>
              </p:nvPr>
            </p:nvSpPr>
            <p:spPr>
              <a:xfrm>
                <a:off x="6359461" y="4622797"/>
                <a:ext cx="2188032" cy="1187893"/>
              </a:xfrm>
              <a:prstGeom prst="rect">
                <a:avLst/>
              </a:prstGeom>
              <a:noFill/>
            </p:spPr>
            <p:txBody>
              <a:bodyPr wrap="square" rtlCol="0" anchor="t" anchorCtr="1">
                <a:normAutofit/>
              </a:bodyPr>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200" i="0" u="none" strike="noStrike" kern="1200" cap="none" spc="0" normalizeH="0" baseline="0" noProof="0">
                    <a:ln>
                      <a:noFill/>
                    </a:ln>
                    <a:effectLst/>
                    <a:uLnTx/>
                    <a:uFillTx/>
                  </a:rPr>
                  <a:t>请输入文本内容请输入文本内容请输入文本内容请输入文本内容</a:t>
                </a:r>
                <a:endParaRPr kumimoji="0" lang="zh-CN" altLang="en-US" sz="1200" i="0" u="none" strike="noStrike" kern="1200" cap="none" spc="0" normalizeH="0" baseline="0" noProof="0">
                  <a:ln>
                    <a:noFill/>
                  </a:ln>
                  <a:effectLst/>
                  <a:uLnTx/>
                  <a:uFillTx/>
                </a:endParaRPr>
              </a:p>
            </p:txBody>
          </p:sp>
        </p:grpSp>
        <p:grpSp>
          <p:nvGrpSpPr>
            <p:cNvPr id="8" name="组合 7"/>
            <p:cNvGrpSpPr/>
            <p:nvPr/>
          </p:nvGrpSpPr>
          <p:grpSpPr>
            <a:xfrm>
              <a:off x="9087117" y="3204432"/>
              <a:ext cx="2188032" cy="2606258"/>
              <a:chOff x="9087117" y="3204432"/>
              <a:chExt cx="2188032" cy="2606258"/>
            </a:xfrm>
          </p:grpSpPr>
          <p:sp>
            <p:nvSpPr>
              <p:cNvPr id="10" name="Bullet4"/>
              <p:cNvSpPr txBox="1"/>
              <p:nvPr>
                <p:custDataLst>
                  <p:tags r:id="rId19"/>
                </p:custDataLst>
              </p:nvPr>
            </p:nvSpPr>
            <p:spPr>
              <a:xfrm>
                <a:off x="9087117" y="4040918"/>
                <a:ext cx="2188032" cy="581879"/>
              </a:xfrm>
              <a:prstGeom prst="rect">
                <a:avLst/>
              </a:prstGeom>
              <a:noFill/>
            </p:spPr>
            <p:txBody>
              <a:bodyPr wrap="square" rtlCol="0" anchor="b" anchorCtr="1">
                <a:normAutofit/>
              </a:bodyPr>
              <a:lstStyle/>
              <a:p>
                <a:pPr marL="0" marR="0" lvl="0" indent="0" algn="ctr" defTabSz="913765" rtl="0" eaLnBrk="1" fontAlgn="auto" latinLnBrk="0" hangingPunct="1">
                  <a:spcBef>
                    <a:spcPts val="0"/>
                  </a:spcBef>
                  <a:spcAft>
                    <a:spcPts val="0"/>
                  </a:spcAft>
                  <a:buClrTx/>
                  <a:buSzPct val="25000"/>
                  <a:buFontTx/>
                  <a:buNone/>
                  <a:defRPr/>
                </a:pPr>
                <a:r>
                  <a:rPr kumimoji="0" lang="zh-CN" altLang="en-US" b="1" i="0" u="none" strike="noStrike" kern="1200" cap="none" spc="0" normalizeH="0" baseline="0" noProof="0" dirty="0">
                    <a:ln>
                      <a:noFill/>
                    </a:ln>
                    <a:effectLst/>
                    <a:uLnTx/>
                    <a:uFillTx/>
                  </a:rPr>
                  <a:t>单击此处添加标题</a:t>
                </a:r>
                <a:endParaRPr kumimoji="0" lang="en-US" altLang="zh-CN" b="1" i="0" u="none" strike="noStrike" kern="1200" cap="none" spc="0" normalizeH="0" baseline="0" noProof="0" dirty="0">
                  <a:ln>
                    <a:noFill/>
                  </a:ln>
                  <a:effectLst/>
                  <a:uLnTx/>
                  <a:uFillTx/>
                </a:endParaRPr>
              </a:p>
            </p:txBody>
          </p:sp>
          <p:sp>
            <p:nvSpPr>
              <p:cNvPr id="11" name="IconBackground4"/>
              <p:cNvSpPr/>
              <p:nvPr>
                <p:custDataLst>
                  <p:tags r:id="rId20"/>
                </p:custDataLst>
              </p:nvPr>
            </p:nvSpPr>
            <p:spPr>
              <a:xfrm>
                <a:off x="9943536" y="3204432"/>
                <a:ext cx="475190" cy="475190"/>
              </a:xfrm>
              <a:prstGeom prst="roundRect">
                <a:avLst/>
              </a:prstGeom>
              <a:solidFill>
                <a:schemeClr val="accent2">
                  <a:alpha val="70000"/>
                </a:schemeClr>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sz="2000" b="1" dirty="0">
                  <a:solidFill>
                    <a:schemeClr val="bg1"/>
                  </a:solidFill>
                </a:endParaRPr>
              </a:p>
            </p:txBody>
          </p:sp>
          <p:sp>
            <p:nvSpPr>
              <p:cNvPr id="12" name="Icon4"/>
              <p:cNvSpPr/>
              <p:nvPr>
                <p:custDataLst>
                  <p:tags r:id="rId21"/>
                </p:custDataLst>
              </p:nvPr>
            </p:nvSpPr>
            <p:spPr bwMode="auto">
              <a:xfrm>
                <a:off x="10026125" y="3272117"/>
                <a:ext cx="310012" cy="33982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52367 h 542925"/>
                  <a:gd name="connsiteX11" fmla="*/ 1120 w 495300"/>
                  <a:gd name="connsiteY11" fmla="*/ 248271 h 542925"/>
                  <a:gd name="connsiteX12" fmla="*/ 248770 w 495300"/>
                  <a:gd name="connsiteY12" fmla="*/ 621 h 542925"/>
                  <a:gd name="connsiteX13" fmla="*/ 304777 w 495300"/>
                  <a:gd name="connsiteY13" fmla="*/ 489539 h 542925"/>
                  <a:gd name="connsiteX14" fmla="*/ 248770 w 495300"/>
                  <a:gd name="connsiteY14" fmla="*/ 495921 h 542925"/>
                  <a:gd name="connsiteX15" fmla="*/ 192763 w 495300"/>
                  <a:gd name="connsiteY15" fmla="*/ 489539 h 542925"/>
                  <a:gd name="connsiteX16" fmla="*/ 172570 w 495300"/>
                  <a:gd name="connsiteY16" fmla="*/ 524496 h 542925"/>
                  <a:gd name="connsiteX17" fmla="*/ 324970 w 495300"/>
                  <a:gd name="connsiteY17" fmla="*/ 524496 h 542925"/>
                  <a:gd name="connsiteX18" fmla="*/ 304777 w 495300"/>
                  <a:gd name="connsiteY18" fmla="*/ 489539 h 542925"/>
                  <a:gd name="connsiteX19" fmla="*/ 248770 w 495300"/>
                  <a:gd name="connsiteY19" fmla="*/ 19671 h 542925"/>
                  <a:gd name="connsiteX20" fmla="*/ 20170 w 495300"/>
                  <a:gd name="connsiteY20" fmla="*/ 248271 h 542925"/>
                  <a:gd name="connsiteX21" fmla="*/ 248770 w 495300"/>
                  <a:gd name="connsiteY21" fmla="*/ 476871 h 542925"/>
                  <a:gd name="connsiteX22" fmla="*/ 477370 w 495300"/>
                  <a:gd name="connsiteY22" fmla="*/ 248271 h 542925"/>
                  <a:gd name="connsiteX23" fmla="*/ 248770 w 495300"/>
                  <a:gd name="connsiteY23" fmla="*/ 19671 h 542925"/>
                  <a:gd name="connsiteX24" fmla="*/ 248770 w 495300"/>
                  <a:gd name="connsiteY24" fmla="*/ 133971 h 542925"/>
                  <a:gd name="connsiteX25" fmla="*/ 363070 w 495300"/>
                  <a:gd name="connsiteY25" fmla="*/ 248271 h 542925"/>
                  <a:gd name="connsiteX26" fmla="*/ 248770 w 495300"/>
                  <a:gd name="connsiteY26" fmla="*/ 362571 h 542925"/>
                  <a:gd name="connsiteX27" fmla="*/ 134470 w 495300"/>
                  <a:gd name="connsiteY27" fmla="*/ 248271 h 542925"/>
                  <a:gd name="connsiteX28" fmla="*/ 248770 w 495300"/>
                  <a:gd name="connsiteY28" fmla="*/ 133971 h 542925"/>
                  <a:gd name="connsiteX29" fmla="*/ 248770 w 495300"/>
                  <a:gd name="connsiteY29" fmla="*/ 153021 h 542925"/>
                  <a:gd name="connsiteX30" fmla="*/ 153520 w 495300"/>
                  <a:gd name="connsiteY30" fmla="*/ 248271 h 542925"/>
                  <a:gd name="connsiteX31" fmla="*/ 248770 w 495300"/>
                  <a:gd name="connsiteY31" fmla="*/ 343521 h 542925"/>
                  <a:gd name="connsiteX32" fmla="*/ 344020 w 495300"/>
                  <a:gd name="connsiteY32" fmla="*/ 248271 h 542925"/>
                  <a:gd name="connsiteX33" fmla="*/ 248770 w 495300"/>
                  <a:gd name="connsiteY33" fmla="*/ 153021 h 542925"/>
                  <a:gd name="connsiteX34" fmla="*/ 367833 w 495300"/>
                  <a:gd name="connsiteY34" fmla="*/ 114921 h 542925"/>
                  <a:gd name="connsiteX35" fmla="*/ 382120 w 495300"/>
                  <a:gd name="connsiteY35" fmla="*/ 129209 h 542925"/>
                  <a:gd name="connsiteX36" fmla="*/ 367833 w 495300"/>
                  <a:gd name="connsiteY36" fmla="*/ 143496 h 542925"/>
                  <a:gd name="connsiteX37" fmla="*/ 353545 w 495300"/>
                  <a:gd name="connsiteY37" fmla="*/ 129209 h 542925"/>
                  <a:gd name="connsiteX38" fmla="*/ 367833 w 495300"/>
                  <a:gd name="connsiteY38"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4843" y="452963"/>
                      <a:pt x="2930" y="361237"/>
                      <a:pt x="1120" y="252367"/>
                    </a:cubicBezTo>
                    <a:lnTo>
                      <a:pt x="1120" y="248271"/>
                    </a:lnTo>
                    <a:cubicBezTo>
                      <a:pt x="1120" y="111492"/>
                      <a:pt x="111991" y="621"/>
                      <a:pt x="248770" y="621"/>
                    </a:cubicBezTo>
                    <a:close/>
                    <a:moveTo>
                      <a:pt x="304777" y="489539"/>
                    </a:moveTo>
                    <a:cubicBezTo>
                      <a:pt x="286775" y="493730"/>
                      <a:pt x="268010" y="495921"/>
                      <a:pt x="248770" y="495921"/>
                    </a:cubicBezTo>
                    <a:cubicBezTo>
                      <a:pt x="229530" y="495921"/>
                      <a:pt x="210765" y="493730"/>
                      <a:pt x="192763" y="489539"/>
                    </a:cubicBezTo>
                    <a:lnTo>
                      <a:pt x="172570" y="524496"/>
                    </a:lnTo>
                    <a:lnTo>
                      <a:pt x="324970" y="524496"/>
                    </a:lnTo>
                    <a:lnTo>
                      <a:pt x="304777" y="489539"/>
                    </a:lnTo>
                    <a:close/>
                    <a:moveTo>
                      <a:pt x="248770" y="19671"/>
                    </a:moveTo>
                    <a:cubicBezTo>
                      <a:pt x="122564" y="19671"/>
                      <a:pt x="20170" y="122065"/>
                      <a:pt x="20170" y="248271"/>
                    </a:cubicBezTo>
                    <a:cubicBezTo>
                      <a:pt x="20170" y="374477"/>
                      <a:pt x="122564" y="476871"/>
                      <a:pt x="248770" y="476871"/>
                    </a:cubicBezTo>
                    <a:cubicBezTo>
                      <a:pt x="374976" y="476871"/>
                      <a:pt x="477370" y="374477"/>
                      <a:pt x="477370" y="248271"/>
                    </a:cubicBezTo>
                    <a:cubicBezTo>
                      <a:pt x="477370" y="122065"/>
                      <a:pt x="374976" y="19671"/>
                      <a:pt x="248770" y="19671"/>
                    </a:cubicBezTo>
                    <a:close/>
                    <a:moveTo>
                      <a:pt x="248770" y="133971"/>
                    </a:moveTo>
                    <a:cubicBezTo>
                      <a:pt x="311921" y="133971"/>
                      <a:pt x="363070" y="185120"/>
                      <a:pt x="363070" y="248271"/>
                    </a:cubicBezTo>
                    <a:cubicBezTo>
                      <a:pt x="363070" y="311422"/>
                      <a:pt x="311921" y="362571"/>
                      <a:pt x="248770" y="362571"/>
                    </a:cubicBezTo>
                    <a:cubicBezTo>
                      <a:pt x="185619" y="362571"/>
                      <a:pt x="134470" y="311422"/>
                      <a:pt x="134470" y="248271"/>
                    </a:cubicBezTo>
                    <a:cubicBezTo>
                      <a:pt x="134470" y="185120"/>
                      <a:pt x="185619" y="133971"/>
                      <a:pt x="248770" y="133971"/>
                    </a:cubicBezTo>
                    <a:close/>
                    <a:moveTo>
                      <a:pt x="248770" y="153021"/>
                    </a:moveTo>
                    <a:cubicBezTo>
                      <a:pt x="196192" y="153021"/>
                      <a:pt x="153520" y="195693"/>
                      <a:pt x="153520" y="248271"/>
                    </a:cubicBezTo>
                    <a:cubicBezTo>
                      <a:pt x="153520" y="300849"/>
                      <a:pt x="196192" y="343521"/>
                      <a:pt x="248770" y="343521"/>
                    </a:cubicBezTo>
                    <a:cubicBezTo>
                      <a:pt x="301348" y="343521"/>
                      <a:pt x="344020" y="300849"/>
                      <a:pt x="344020" y="248271"/>
                    </a:cubicBezTo>
                    <a:cubicBezTo>
                      <a:pt x="344020" y="195693"/>
                      <a:pt x="301348" y="153021"/>
                      <a:pt x="248770" y="153021"/>
                    </a:cubicBezTo>
                    <a:close/>
                    <a:moveTo>
                      <a:pt x="367833" y="114921"/>
                    </a:moveTo>
                    <a:cubicBezTo>
                      <a:pt x="375738" y="114921"/>
                      <a:pt x="382120" y="121303"/>
                      <a:pt x="382120" y="129209"/>
                    </a:cubicBezTo>
                    <a:cubicBezTo>
                      <a:pt x="382120" y="137114"/>
                      <a:pt x="375738" y="143496"/>
                      <a:pt x="367833" y="143496"/>
                    </a:cubicBezTo>
                    <a:cubicBezTo>
                      <a:pt x="359927" y="143496"/>
                      <a:pt x="353545" y="137114"/>
                      <a:pt x="353545" y="129209"/>
                    </a:cubicBezTo>
                    <a:cubicBezTo>
                      <a:pt x="353545" y="121303"/>
                      <a:pt x="359927" y="114921"/>
                      <a:pt x="367833" y="114921"/>
                    </a:cubicBezTo>
                    <a:close/>
                  </a:path>
                </a:pathLst>
              </a:custGeom>
              <a:solidFill>
                <a:srgbClr val="FFFFFF"/>
              </a:solidFill>
              <a:ln>
                <a:noFill/>
              </a:ln>
            </p:spPr>
            <p:txBody>
              <a:bodyPr/>
              <a:lstStyle/>
              <a:p>
                <a:endParaRPr lang="zh-CN" altLang="en-US"/>
              </a:p>
            </p:txBody>
          </p:sp>
          <p:sp>
            <p:nvSpPr>
              <p:cNvPr id="13" name="Text4"/>
              <p:cNvSpPr txBox="1"/>
              <p:nvPr>
                <p:custDataLst>
                  <p:tags r:id="rId22"/>
                </p:custDataLst>
              </p:nvPr>
            </p:nvSpPr>
            <p:spPr>
              <a:xfrm>
                <a:off x="9087117" y="4622797"/>
                <a:ext cx="2188032" cy="1187893"/>
              </a:xfrm>
              <a:prstGeom prst="rect">
                <a:avLst/>
              </a:prstGeom>
              <a:noFill/>
            </p:spPr>
            <p:txBody>
              <a:bodyPr wrap="square" rtlCol="0" anchor="t" anchorCtr="1">
                <a:normAutofit/>
              </a:bodyPr>
              <a:lstStyle/>
              <a:p>
                <a:pPr marL="0" marR="0" lvl="0" indent="0" algn="ctr" defTabSz="913765" rtl="0" eaLnBrk="1" fontAlgn="auto" latinLnBrk="0" hangingPunct="1">
                  <a:lnSpc>
                    <a:spcPct val="120000"/>
                  </a:lnSpc>
                  <a:spcBef>
                    <a:spcPts val="0"/>
                  </a:spcBef>
                  <a:spcAft>
                    <a:spcPts val="0"/>
                  </a:spcAft>
                  <a:buClrTx/>
                  <a:buSzPct val="25000"/>
                  <a:buFontTx/>
                  <a:buNone/>
                  <a:defRPr/>
                </a:pPr>
                <a:r>
                  <a:rPr kumimoji="0" lang="zh-CN" altLang="en-US" sz="1200" i="0" u="none" strike="noStrike" kern="1200" cap="none" spc="0" normalizeH="0" baseline="0" noProof="0">
                    <a:ln>
                      <a:noFill/>
                    </a:ln>
                    <a:effectLst/>
                    <a:uLnTx/>
                    <a:uFillTx/>
                  </a:rPr>
                  <a:t>请输入文本内容请输入文本内容请输入文本内容请输入文本内容</a:t>
                </a:r>
                <a:endParaRPr kumimoji="0" lang="zh-CN" altLang="en-US" sz="1200" i="0" u="none" strike="noStrike" kern="1200" cap="none" spc="0" normalizeH="0" baseline="0" noProof="0">
                  <a:ln>
                    <a:noFill/>
                  </a:ln>
                  <a:effectLst/>
                  <a:uLnTx/>
                  <a:uFillTx/>
                </a:endParaRPr>
              </a:p>
            </p:txBody>
          </p:sp>
        </p:grpSp>
        <p:sp>
          <p:nvSpPr>
            <p:cNvPr id="9" name="Title"/>
            <p:cNvSpPr txBox="1"/>
            <p:nvPr/>
          </p:nvSpPr>
          <p:spPr>
            <a:xfrm>
              <a:off x="660400" y="1333500"/>
              <a:ext cx="10858500" cy="673099"/>
            </a:xfrm>
            <a:prstGeom prst="rect">
              <a:avLst/>
            </a:prstGeom>
            <a:noFill/>
          </p:spPr>
          <p:txBody>
            <a:bodyPr vert="horz" wrap="square" rtlCol="0" anchor="t" anchorCtr="1">
              <a:normAutofit/>
            </a:bodyPr>
            <a:lstStyle/>
            <a:p>
              <a:pPr algn="ctr"/>
              <a:r>
                <a:rPr lang="zh-CN" altLang="en-US" sz="2400" b="1"/>
                <a:t>请输入文本内容请输入文本内容</a:t>
              </a:r>
              <a:endParaRPr lang="zh-CN" altLang="en-US" sz="2400" b="1"/>
            </a:p>
          </p:txBody>
        </p:sp>
      </p:grpSp>
      <p:sp>
        <p:nvSpPr>
          <p:cNvPr id="2" name="标题 1"/>
          <p:cNvSpPr>
            <a:spLocks noGrp="1"/>
          </p:cNvSpPr>
          <p:nvPr>
            <p:ph type="title"/>
          </p:nvPr>
        </p:nvSpPr>
        <p:spPr/>
        <p:txBody>
          <a:bodyPr/>
          <a:lstStyle/>
          <a:p>
            <a:r>
              <a:rPr lang="zh-CN" altLang="en-US"/>
              <a:t>单击此处添加标题</a:t>
            </a:r>
            <a:endParaRPr lang="zh-CN" alt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custDataLst>
              <p:tags r:id="rId1"/>
            </p:custDataLst>
          </p:nvPr>
        </p:nvGrpSpPr>
        <p:grpSpPr>
          <a:xfrm>
            <a:off x="659606" y="1350963"/>
            <a:ext cx="10860088" cy="4562475"/>
            <a:chOff x="660400" y="1320800"/>
            <a:chExt cx="10860088" cy="4562475"/>
          </a:xfrm>
        </p:grpSpPr>
        <p:grpSp>
          <p:nvGrpSpPr>
            <p:cNvPr id="4" name="组合 3"/>
            <p:cNvGrpSpPr/>
            <p:nvPr/>
          </p:nvGrpSpPr>
          <p:grpSpPr>
            <a:xfrm>
              <a:off x="1512766" y="3454986"/>
              <a:ext cx="9167490" cy="722033"/>
              <a:chOff x="1512766" y="3454986"/>
              <a:chExt cx="9167490" cy="722033"/>
            </a:xfrm>
          </p:grpSpPr>
          <p:sp>
            <p:nvSpPr>
              <p:cNvPr id="26" name="ïSļîḋè"/>
              <p:cNvSpPr/>
              <p:nvPr>
                <p:custDataLst>
                  <p:tags r:id="rId2"/>
                </p:custDataLst>
              </p:nvPr>
            </p:nvSpPr>
            <p:spPr>
              <a:xfrm rot="16200000" flipH="1" flipV="1">
                <a:off x="4616599" y="3120024"/>
                <a:ext cx="192087" cy="862012"/>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12700">
                <a:solidFill>
                  <a:schemeClr val="accent2">
                    <a:alpha val="50000"/>
                  </a:schemeClr>
                </a:solidFill>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cxnSp>
            <p:nvCxnSpPr>
              <p:cNvPr id="27" name="í$ḻiḓè"/>
              <p:cNvCxnSpPr/>
              <p:nvPr>
                <p:custDataLst>
                  <p:tags r:id="rId3"/>
                </p:custDataLst>
              </p:nvPr>
            </p:nvCxnSpPr>
            <p:spPr>
              <a:xfrm flipH="1">
                <a:off x="4712642" y="3785180"/>
                <a:ext cx="2387" cy="391838"/>
              </a:xfrm>
              <a:prstGeom prst="line">
                <a:avLst/>
              </a:prstGeom>
              <a:ln w="12700" cap="rnd">
                <a:solidFill>
                  <a:schemeClr val="accent2">
                    <a:alpha val="50000"/>
                  </a:schemeClr>
                </a:solidFill>
                <a:round/>
                <a:headEnd type="oval" w="lg" len="lg"/>
                <a:tailEnd type="oval" w="sm" len="sm"/>
              </a:ln>
            </p:spPr>
            <p:style>
              <a:lnRef idx="1">
                <a:schemeClr val="accent1"/>
              </a:lnRef>
              <a:fillRef idx="0">
                <a:schemeClr val="accent1"/>
              </a:fillRef>
              <a:effectRef idx="0">
                <a:schemeClr val="accent1"/>
              </a:effectRef>
              <a:fontRef idx="minor">
                <a:schemeClr val="tx1"/>
              </a:fontRef>
            </p:style>
          </p:cxnSp>
          <p:sp>
            <p:nvSpPr>
              <p:cNvPr id="28" name="iślïḓê"/>
              <p:cNvSpPr/>
              <p:nvPr>
                <p:custDataLst>
                  <p:tags r:id="rId4"/>
                </p:custDataLst>
              </p:nvPr>
            </p:nvSpPr>
            <p:spPr>
              <a:xfrm rot="16200000" flipH="1" flipV="1">
                <a:off x="10153206" y="3120025"/>
                <a:ext cx="192087" cy="862012"/>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12700">
                <a:solidFill>
                  <a:schemeClr val="accent2">
                    <a:alpha val="50000"/>
                  </a:schemeClr>
                </a:solidFill>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cxnSp>
            <p:nvCxnSpPr>
              <p:cNvPr id="29" name="ïṡļíḑé"/>
              <p:cNvCxnSpPr/>
              <p:nvPr>
                <p:custDataLst>
                  <p:tags r:id="rId5"/>
                </p:custDataLst>
              </p:nvPr>
            </p:nvCxnSpPr>
            <p:spPr>
              <a:xfrm flipH="1">
                <a:off x="10249249" y="3785181"/>
                <a:ext cx="2387" cy="391838"/>
              </a:xfrm>
              <a:prstGeom prst="line">
                <a:avLst/>
              </a:prstGeom>
              <a:ln w="12700" cap="rnd">
                <a:solidFill>
                  <a:schemeClr val="accent2">
                    <a:alpha val="50000"/>
                  </a:schemeClr>
                </a:solidFill>
                <a:round/>
                <a:headEnd type="oval" w="lg" len="lg"/>
                <a:tailEnd type="oval" w="sm" len="sm"/>
              </a:ln>
            </p:spPr>
            <p:style>
              <a:lnRef idx="1">
                <a:schemeClr val="accent1"/>
              </a:lnRef>
              <a:fillRef idx="0">
                <a:schemeClr val="accent1"/>
              </a:fillRef>
              <a:effectRef idx="0">
                <a:schemeClr val="accent1"/>
              </a:effectRef>
              <a:fontRef idx="minor">
                <a:schemeClr val="tx1"/>
              </a:fontRef>
            </p:style>
          </p:cxnSp>
          <p:sp>
            <p:nvSpPr>
              <p:cNvPr id="30" name="ïSļîḋè"/>
              <p:cNvSpPr/>
              <p:nvPr>
                <p:custDataLst>
                  <p:tags r:id="rId6"/>
                </p:custDataLst>
              </p:nvPr>
            </p:nvSpPr>
            <p:spPr>
              <a:xfrm rot="16200000" flipH="1" flipV="1">
                <a:off x="1847728" y="3120025"/>
                <a:ext cx="192087" cy="862012"/>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12700">
                <a:solidFill>
                  <a:schemeClr val="accent1">
                    <a:alpha val="50000"/>
                  </a:schemeClr>
                </a:solidFill>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cxnSp>
            <p:nvCxnSpPr>
              <p:cNvPr id="31" name="í$ḻiḓè"/>
              <p:cNvCxnSpPr/>
              <p:nvPr>
                <p:custDataLst>
                  <p:tags r:id="rId7"/>
                </p:custDataLst>
              </p:nvPr>
            </p:nvCxnSpPr>
            <p:spPr>
              <a:xfrm flipH="1">
                <a:off x="1943771" y="3785181"/>
                <a:ext cx="2387" cy="391838"/>
              </a:xfrm>
              <a:prstGeom prst="line">
                <a:avLst/>
              </a:prstGeom>
              <a:ln w="12700" cap="rnd">
                <a:solidFill>
                  <a:schemeClr val="accent1">
                    <a:alpha val="50000"/>
                  </a:schemeClr>
                </a:solidFill>
                <a:round/>
                <a:headEnd type="oval" w="lg" len="lg"/>
                <a:tailEnd type="oval" w="sm" len="sm"/>
              </a:ln>
            </p:spPr>
            <p:style>
              <a:lnRef idx="1">
                <a:schemeClr val="accent1"/>
              </a:lnRef>
              <a:fillRef idx="0">
                <a:schemeClr val="accent1"/>
              </a:fillRef>
              <a:effectRef idx="0">
                <a:schemeClr val="accent1"/>
              </a:effectRef>
              <a:fontRef idx="minor">
                <a:schemeClr val="tx1"/>
              </a:fontRef>
            </p:style>
          </p:cxnSp>
          <p:sp>
            <p:nvSpPr>
              <p:cNvPr id="32" name="ïSļîḋè"/>
              <p:cNvSpPr/>
              <p:nvPr>
                <p:custDataLst>
                  <p:tags r:id="rId8"/>
                </p:custDataLst>
              </p:nvPr>
            </p:nvSpPr>
            <p:spPr>
              <a:xfrm rot="16200000" flipH="1" flipV="1">
                <a:off x="7380930" y="3120025"/>
                <a:ext cx="192087" cy="862012"/>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12700">
                <a:solidFill>
                  <a:schemeClr val="accent1">
                    <a:alpha val="50000"/>
                  </a:schemeClr>
                </a:solidFill>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cxnSp>
            <p:nvCxnSpPr>
              <p:cNvPr id="33" name="í$ḻiḓè"/>
              <p:cNvCxnSpPr/>
              <p:nvPr>
                <p:custDataLst>
                  <p:tags r:id="rId9"/>
                </p:custDataLst>
              </p:nvPr>
            </p:nvCxnSpPr>
            <p:spPr>
              <a:xfrm flipH="1">
                <a:off x="7476973" y="3785181"/>
                <a:ext cx="2387" cy="391838"/>
              </a:xfrm>
              <a:prstGeom prst="line">
                <a:avLst/>
              </a:prstGeom>
              <a:ln w="12700" cap="rnd">
                <a:solidFill>
                  <a:schemeClr val="accent1">
                    <a:alpha val="50000"/>
                  </a:schemeClr>
                </a:solidFill>
                <a:round/>
                <a:headEnd type="oval" w="lg" len="lg"/>
                <a:tailEnd type="oval" w="sm" len="sm"/>
              </a:ln>
            </p:spPr>
            <p:style>
              <a:lnRef idx="1">
                <a:schemeClr val="accent1"/>
              </a:lnRef>
              <a:fillRef idx="0">
                <a:schemeClr val="accent1"/>
              </a:fillRef>
              <a:effectRef idx="0">
                <a:schemeClr val="accent1"/>
              </a:effectRef>
              <a:fontRef idx="minor">
                <a:schemeClr val="tx1"/>
              </a:fontRef>
            </p:style>
          </p:cxnSp>
        </p:grpSp>
        <p:grpSp>
          <p:nvGrpSpPr>
            <p:cNvPr id="5" name="组合 4"/>
            <p:cNvGrpSpPr/>
            <p:nvPr/>
          </p:nvGrpSpPr>
          <p:grpSpPr>
            <a:xfrm>
              <a:off x="672532" y="2671747"/>
              <a:ext cx="2542477" cy="3208354"/>
              <a:chOff x="672532" y="2671747"/>
              <a:chExt cx="2542477" cy="3208354"/>
            </a:xfrm>
          </p:grpSpPr>
          <p:sp>
            <p:nvSpPr>
              <p:cNvPr id="22" name="IconBackground1"/>
              <p:cNvSpPr/>
              <p:nvPr>
                <p:custDataLst>
                  <p:tags r:id="rId10"/>
                </p:custDataLst>
              </p:nvPr>
            </p:nvSpPr>
            <p:spPr>
              <a:xfrm flipH="1">
                <a:off x="1527810" y="2671747"/>
                <a:ext cx="833053" cy="83305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sp>
            <p:nvSpPr>
              <p:cNvPr id="23" name="Icon1"/>
              <p:cNvSpPr/>
              <p:nvPr>
                <p:custDataLst>
                  <p:tags r:id="rId11"/>
                </p:custDataLst>
              </p:nvPr>
            </p:nvSpPr>
            <p:spPr bwMode="auto">
              <a:xfrm>
                <a:off x="1755424" y="2900154"/>
                <a:ext cx="377825" cy="376239"/>
              </a:xfrm>
              <a:custGeom>
                <a:avLst/>
                <a:gdLst>
                  <a:gd name="T0" fmla="*/ 984018 w 1589088"/>
                  <a:gd name="T1" fmla="*/ 589506 h 1589088"/>
                  <a:gd name="T2" fmla="*/ 955171 w 1589088"/>
                  <a:gd name="T3" fmla="*/ 645802 h 1589088"/>
                  <a:gd name="T4" fmla="*/ 898294 w 1589088"/>
                  <a:gd name="T5" fmla="*/ 673272 h 1589088"/>
                  <a:gd name="T6" fmla="*/ 881422 w 1589088"/>
                  <a:gd name="T7" fmla="*/ 964824 h 1589088"/>
                  <a:gd name="T8" fmla="*/ 873530 w 1589088"/>
                  <a:gd name="T9" fmla="*/ 1040159 h 1589088"/>
                  <a:gd name="T10" fmla="*/ 824817 w 1589088"/>
                  <a:gd name="T11" fmla="*/ 1084490 h 1589088"/>
                  <a:gd name="T12" fmla="*/ 756238 w 1589088"/>
                  <a:gd name="T13" fmla="*/ 1088026 h 1589088"/>
                  <a:gd name="T14" fmla="*/ 703444 w 1589088"/>
                  <a:gd name="T15" fmla="*/ 1048590 h 1589088"/>
                  <a:gd name="T16" fmla="*/ 686571 w 1589088"/>
                  <a:gd name="T17" fmla="*/ 985493 h 1589088"/>
                  <a:gd name="T18" fmla="*/ 486007 w 1589088"/>
                  <a:gd name="T19" fmla="*/ 893024 h 1589088"/>
                  <a:gd name="T20" fmla="*/ 398106 w 1589088"/>
                  <a:gd name="T21" fmla="*/ 820680 h 1589088"/>
                  <a:gd name="T22" fmla="*/ 402189 w 1589088"/>
                  <a:gd name="T23" fmla="*/ 755134 h 1589088"/>
                  <a:gd name="T24" fmla="*/ 446547 w 1589088"/>
                  <a:gd name="T25" fmla="*/ 706452 h 1589088"/>
                  <a:gd name="T26" fmla="*/ 514037 w 1589088"/>
                  <a:gd name="T27" fmla="*/ 696389 h 1589088"/>
                  <a:gd name="T28" fmla="*/ 570641 w 1589088"/>
                  <a:gd name="T29" fmla="*/ 730385 h 1589088"/>
                  <a:gd name="T30" fmla="*/ 593501 w 1589088"/>
                  <a:gd name="T31" fmla="*/ 794027 h 1589088"/>
                  <a:gd name="T32" fmla="*/ 818558 w 1589088"/>
                  <a:gd name="T33" fmla="*/ 648522 h 1589088"/>
                  <a:gd name="T34" fmla="*/ 785901 w 1589088"/>
                  <a:gd name="T35" fmla="*/ 575091 h 1589088"/>
                  <a:gd name="T36" fmla="*/ 808761 w 1589088"/>
                  <a:gd name="T37" fmla="*/ 511721 h 1589088"/>
                  <a:gd name="T38" fmla="*/ 865365 w 1589088"/>
                  <a:gd name="T39" fmla="*/ 477726 h 1589088"/>
                  <a:gd name="T40" fmla="*/ 728574 w 1589088"/>
                  <a:gd name="T41" fmla="*/ 144010 h 1589088"/>
                  <a:gd name="T42" fmla="*/ 531280 w 1589088"/>
                  <a:gd name="T43" fmla="*/ 182593 h 1589088"/>
                  <a:gd name="T44" fmla="*/ 353281 w 1589088"/>
                  <a:gd name="T45" fmla="*/ 288291 h 1589088"/>
                  <a:gd name="T46" fmla="*/ 219577 w 1589088"/>
                  <a:gd name="T47" fmla="*/ 451592 h 1589088"/>
                  <a:gd name="T48" fmla="*/ 152454 w 1589088"/>
                  <a:gd name="T49" fmla="*/ 642880 h 1589088"/>
                  <a:gd name="T50" fmla="*/ 152454 w 1589088"/>
                  <a:gd name="T51" fmla="*/ 843135 h 1589088"/>
                  <a:gd name="T52" fmla="*/ 219577 w 1589088"/>
                  <a:gd name="T53" fmla="*/ 1034422 h 1589088"/>
                  <a:gd name="T54" fmla="*/ 353281 w 1589088"/>
                  <a:gd name="T55" fmla="*/ 1197724 h 1589088"/>
                  <a:gd name="T56" fmla="*/ 531280 w 1589088"/>
                  <a:gd name="T57" fmla="*/ 1303421 h 1589088"/>
                  <a:gd name="T58" fmla="*/ 728574 w 1589088"/>
                  <a:gd name="T59" fmla="*/ 1341734 h 1589088"/>
                  <a:gd name="T60" fmla="*/ 927227 w 1589088"/>
                  <a:gd name="T61" fmla="*/ 1312931 h 1589088"/>
                  <a:gd name="T62" fmla="*/ 1109302 w 1589088"/>
                  <a:gd name="T63" fmla="*/ 1217015 h 1589088"/>
                  <a:gd name="T64" fmla="*/ 1251431 w 1589088"/>
                  <a:gd name="T65" fmla="*/ 1059964 h 1589088"/>
                  <a:gd name="T66" fmla="*/ 1328065 w 1589088"/>
                  <a:gd name="T67" fmla="*/ 871393 h 1589088"/>
                  <a:gd name="T68" fmla="*/ 1337576 w 1589088"/>
                  <a:gd name="T69" fmla="*/ 671410 h 1589088"/>
                  <a:gd name="T70" fmla="*/ 1280237 w 1589088"/>
                  <a:gd name="T71" fmla="*/ 477677 h 1589088"/>
                  <a:gd name="T72" fmla="*/ 1155500 w 1589088"/>
                  <a:gd name="T73" fmla="*/ 308670 h 1589088"/>
                  <a:gd name="T74" fmla="*/ 981849 w 1589088"/>
                  <a:gd name="T75" fmla="*/ 193462 h 1589088"/>
                  <a:gd name="T76" fmla="*/ 785915 w 1589088"/>
                  <a:gd name="T77" fmla="*/ 145640 h 1589088"/>
                  <a:gd name="T78" fmla="*/ 902226 w 1589088"/>
                  <a:gd name="T79" fmla="*/ 17390 h 1589088"/>
                  <a:gd name="T80" fmla="*/ 1136207 w 1589088"/>
                  <a:gd name="T81" fmla="*/ 112491 h 1589088"/>
                  <a:gd name="T82" fmla="*/ 1320999 w 1589088"/>
                  <a:gd name="T83" fmla="*/ 276063 h 1589088"/>
                  <a:gd name="T84" fmla="*/ 1429702 w 1589088"/>
                  <a:gd name="T85" fmla="*/ 459201 h 1589088"/>
                  <a:gd name="T86" fmla="*/ 1481334 w 1589088"/>
                  <a:gd name="T87" fmla="*/ 660270 h 1589088"/>
                  <a:gd name="T88" fmla="*/ 1475356 w 1589088"/>
                  <a:gd name="T89" fmla="*/ 866502 h 1589088"/>
                  <a:gd name="T90" fmla="*/ 1412581 w 1589088"/>
                  <a:gd name="T91" fmla="*/ 1064855 h 1589088"/>
                  <a:gd name="T92" fmla="*/ 1892771 w 1589088"/>
                  <a:gd name="T93" fmla="*/ 1636001 h 1589088"/>
                  <a:gd name="T94" fmla="*/ 1896304 w 1589088"/>
                  <a:gd name="T95" fmla="*/ 1759632 h 1589088"/>
                  <a:gd name="T96" fmla="*/ 1783798 w 1589088"/>
                  <a:gd name="T97" fmla="*/ 1885980 h 1589088"/>
                  <a:gd name="T98" fmla="*/ 1662866 w 1589088"/>
                  <a:gd name="T99" fmla="*/ 1900381 h 1589088"/>
                  <a:gd name="T100" fmla="*/ 1104954 w 1589088"/>
                  <a:gd name="T101" fmla="*/ 1391458 h 1589088"/>
                  <a:gd name="T102" fmla="*/ 909835 w 1589088"/>
                  <a:gd name="T103" fmla="*/ 1466451 h 1589088"/>
                  <a:gd name="T104" fmla="*/ 704388 w 1589088"/>
                  <a:gd name="T105" fmla="*/ 1484656 h 1589088"/>
                  <a:gd name="T106" fmla="*/ 501116 w 1589088"/>
                  <a:gd name="T107" fmla="*/ 1445528 h 1589088"/>
                  <a:gd name="T108" fmla="*/ 313061 w 1589088"/>
                  <a:gd name="T109" fmla="*/ 1349069 h 1589088"/>
                  <a:gd name="T110" fmla="*/ 143758 w 1589088"/>
                  <a:gd name="T111" fmla="*/ 1181965 h 1589088"/>
                  <a:gd name="T112" fmla="*/ 30708 w 1589088"/>
                  <a:gd name="T113" fmla="*/ 954538 h 1589088"/>
                  <a:gd name="T114" fmla="*/ 815 w 1589088"/>
                  <a:gd name="T115" fmla="*/ 707277 h 1589088"/>
                  <a:gd name="T116" fmla="*/ 54351 w 1589088"/>
                  <a:gd name="T117" fmla="*/ 463275 h 1589088"/>
                  <a:gd name="T118" fmla="*/ 191315 w 1589088"/>
                  <a:gd name="T119" fmla="*/ 245360 h 1589088"/>
                  <a:gd name="T120" fmla="*/ 397577 w 1589088"/>
                  <a:gd name="T121" fmla="*/ 85319 h 1589088"/>
                  <a:gd name="T122" fmla="*/ 636177 w 1589088"/>
                  <a:gd name="T123" fmla="*/ 7880 h 15890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89088" h="1589088">
                    <a:moveTo>
                      <a:pt x="916859" y="288925"/>
                    </a:moveTo>
                    <a:lnTo>
                      <a:pt x="954088" y="332030"/>
                    </a:lnTo>
                    <a:lnTo>
                      <a:pt x="816067" y="450682"/>
                    </a:lnTo>
                    <a:lnTo>
                      <a:pt x="817430" y="454085"/>
                    </a:lnTo>
                    <a:lnTo>
                      <a:pt x="818338" y="457488"/>
                    </a:lnTo>
                    <a:lnTo>
                      <a:pt x="819246" y="461118"/>
                    </a:lnTo>
                    <a:lnTo>
                      <a:pt x="820381" y="464748"/>
                    </a:lnTo>
                    <a:lnTo>
                      <a:pt x="820835" y="468378"/>
                    </a:lnTo>
                    <a:lnTo>
                      <a:pt x="821289" y="472008"/>
                    </a:lnTo>
                    <a:lnTo>
                      <a:pt x="821743" y="475865"/>
                    </a:lnTo>
                    <a:lnTo>
                      <a:pt x="821743" y="479722"/>
                    </a:lnTo>
                    <a:lnTo>
                      <a:pt x="821743" y="483805"/>
                    </a:lnTo>
                    <a:lnTo>
                      <a:pt x="821289" y="487662"/>
                    </a:lnTo>
                    <a:lnTo>
                      <a:pt x="820835" y="491746"/>
                    </a:lnTo>
                    <a:lnTo>
                      <a:pt x="820154" y="495602"/>
                    </a:lnTo>
                    <a:lnTo>
                      <a:pt x="819246" y="499459"/>
                    </a:lnTo>
                    <a:lnTo>
                      <a:pt x="818338" y="503089"/>
                    </a:lnTo>
                    <a:lnTo>
                      <a:pt x="816976" y="506946"/>
                    </a:lnTo>
                    <a:lnTo>
                      <a:pt x="815840" y="510349"/>
                    </a:lnTo>
                    <a:lnTo>
                      <a:pt x="814251" y="513979"/>
                    </a:lnTo>
                    <a:lnTo>
                      <a:pt x="812662" y="517382"/>
                    </a:lnTo>
                    <a:lnTo>
                      <a:pt x="810619" y="520785"/>
                    </a:lnTo>
                    <a:lnTo>
                      <a:pt x="808803" y="523961"/>
                    </a:lnTo>
                    <a:lnTo>
                      <a:pt x="806760" y="527137"/>
                    </a:lnTo>
                    <a:lnTo>
                      <a:pt x="804263" y="530313"/>
                    </a:lnTo>
                    <a:lnTo>
                      <a:pt x="801993" y="533036"/>
                    </a:lnTo>
                    <a:lnTo>
                      <a:pt x="799496" y="535985"/>
                    </a:lnTo>
                    <a:lnTo>
                      <a:pt x="796772" y="538707"/>
                    </a:lnTo>
                    <a:lnTo>
                      <a:pt x="794048" y="541203"/>
                    </a:lnTo>
                    <a:lnTo>
                      <a:pt x="791324" y="543698"/>
                    </a:lnTo>
                    <a:lnTo>
                      <a:pt x="788146" y="545967"/>
                    </a:lnTo>
                    <a:lnTo>
                      <a:pt x="785194" y="548009"/>
                    </a:lnTo>
                    <a:lnTo>
                      <a:pt x="781789" y="550051"/>
                    </a:lnTo>
                    <a:lnTo>
                      <a:pt x="778611" y="552093"/>
                    </a:lnTo>
                    <a:lnTo>
                      <a:pt x="775433" y="553908"/>
                    </a:lnTo>
                    <a:lnTo>
                      <a:pt x="771801" y="555496"/>
                    </a:lnTo>
                    <a:lnTo>
                      <a:pt x="768396" y="556857"/>
                    </a:lnTo>
                    <a:lnTo>
                      <a:pt x="764537" y="558218"/>
                    </a:lnTo>
                    <a:lnTo>
                      <a:pt x="760905" y="559352"/>
                    </a:lnTo>
                    <a:lnTo>
                      <a:pt x="757046" y="560260"/>
                    </a:lnTo>
                    <a:lnTo>
                      <a:pt x="753413" y="560940"/>
                    </a:lnTo>
                    <a:lnTo>
                      <a:pt x="749327" y="561621"/>
                    </a:lnTo>
                    <a:lnTo>
                      <a:pt x="745241" y="562075"/>
                    </a:lnTo>
                    <a:lnTo>
                      <a:pt x="692121" y="754005"/>
                    </a:lnTo>
                    <a:lnTo>
                      <a:pt x="697343" y="756728"/>
                    </a:lnTo>
                    <a:lnTo>
                      <a:pt x="702110" y="759904"/>
                    </a:lnTo>
                    <a:lnTo>
                      <a:pt x="706650" y="763080"/>
                    </a:lnTo>
                    <a:lnTo>
                      <a:pt x="710963" y="766937"/>
                    </a:lnTo>
                    <a:lnTo>
                      <a:pt x="715049" y="770794"/>
                    </a:lnTo>
                    <a:lnTo>
                      <a:pt x="718908" y="774877"/>
                    </a:lnTo>
                    <a:lnTo>
                      <a:pt x="722313" y="779188"/>
                    </a:lnTo>
                    <a:lnTo>
                      <a:pt x="725718" y="783952"/>
                    </a:lnTo>
                    <a:lnTo>
                      <a:pt x="728670" y="788943"/>
                    </a:lnTo>
                    <a:lnTo>
                      <a:pt x="731167" y="793934"/>
                    </a:lnTo>
                    <a:lnTo>
                      <a:pt x="733437" y="799379"/>
                    </a:lnTo>
                    <a:lnTo>
                      <a:pt x="735253" y="804824"/>
                    </a:lnTo>
                    <a:lnTo>
                      <a:pt x="736615" y="810496"/>
                    </a:lnTo>
                    <a:lnTo>
                      <a:pt x="737750" y="816167"/>
                    </a:lnTo>
                    <a:lnTo>
                      <a:pt x="738431" y="822066"/>
                    </a:lnTo>
                    <a:lnTo>
                      <a:pt x="738658" y="828191"/>
                    </a:lnTo>
                    <a:lnTo>
                      <a:pt x="738658" y="832729"/>
                    </a:lnTo>
                    <a:lnTo>
                      <a:pt x="738431" y="836812"/>
                    </a:lnTo>
                    <a:lnTo>
                      <a:pt x="737523" y="840896"/>
                    </a:lnTo>
                    <a:lnTo>
                      <a:pt x="736842" y="844980"/>
                    </a:lnTo>
                    <a:lnTo>
                      <a:pt x="735934" y="849063"/>
                    </a:lnTo>
                    <a:lnTo>
                      <a:pt x="734799" y="852920"/>
                    </a:lnTo>
                    <a:lnTo>
                      <a:pt x="733664" y="856777"/>
                    </a:lnTo>
                    <a:lnTo>
                      <a:pt x="732075" y="860407"/>
                    </a:lnTo>
                    <a:lnTo>
                      <a:pt x="730259" y="864263"/>
                    </a:lnTo>
                    <a:lnTo>
                      <a:pt x="728670" y="867666"/>
                    </a:lnTo>
                    <a:lnTo>
                      <a:pt x="726626" y="871296"/>
                    </a:lnTo>
                    <a:lnTo>
                      <a:pt x="724583" y="874699"/>
                    </a:lnTo>
                    <a:lnTo>
                      <a:pt x="722086" y="877876"/>
                    </a:lnTo>
                    <a:lnTo>
                      <a:pt x="719589" y="881052"/>
                    </a:lnTo>
                    <a:lnTo>
                      <a:pt x="717092" y="884228"/>
                    </a:lnTo>
                    <a:lnTo>
                      <a:pt x="714141" y="886950"/>
                    </a:lnTo>
                    <a:lnTo>
                      <a:pt x="711417" y="889673"/>
                    </a:lnTo>
                    <a:lnTo>
                      <a:pt x="708239" y="892395"/>
                    </a:lnTo>
                    <a:lnTo>
                      <a:pt x="705288" y="894891"/>
                    </a:lnTo>
                    <a:lnTo>
                      <a:pt x="702110" y="896933"/>
                    </a:lnTo>
                    <a:lnTo>
                      <a:pt x="698705" y="899428"/>
                    </a:lnTo>
                    <a:lnTo>
                      <a:pt x="695299" y="901243"/>
                    </a:lnTo>
                    <a:lnTo>
                      <a:pt x="691440" y="903058"/>
                    </a:lnTo>
                    <a:lnTo>
                      <a:pt x="688035" y="904646"/>
                    </a:lnTo>
                    <a:lnTo>
                      <a:pt x="684176" y="906234"/>
                    </a:lnTo>
                    <a:lnTo>
                      <a:pt x="680317" y="907595"/>
                    </a:lnTo>
                    <a:lnTo>
                      <a:pt x="676231" y="908730"/>
                    </a:lnTo>
                    <a:lnTo>
                      <a:pt x="672372" y="909637"/>
                    </a:lnTo>
                    <a:lnTo>
                      <a:pt x="668286" y="910318"/>
                    </a:lnTo>
                    <a:lnTo>
                      <a:pt x="664199" y="910771"/>
                    </a:lnTo>
                    <a:lnTo>
                      <a:pt x="659886" y="911225"/>
                    </a:lnTo>
                    <a:lnTo>
                      <a:pt x="655573" y="911225"/>
                    </a:lnTo>
                    <a:lnTo>
                      <a:pt x="651260" y="911225"/>
                    </a:lnTo>
                    <a:lnTo>
                      <a:pt x="646947" y="910771"/>
                    </a:lnTo>
                    <a:lnTo>
                      <a:pt x="643088" y="910318"/>
                    </a:lnTo>
                    <a:lnTo>
                      <a:pt x="638775" y="909637"/>
                    </a:lnTo>
                    <a:lnTo>
                      <a:pt x="634915" y="908730"/>
                    </a:lnTo>
                    <a:lnTo>
                      <a:pt x="630829" y="907595"/>
                    </a:lnTo>
                    <a:lnTo>
                      <a:pt x="627197" y="906234"/>
                    </a:lnTo>
                    <a:lnTo>
                      <a:pt x="623338" y="904646"/>
                    </a:lnTo>
                    <a:lnTo>
                      <a:pt x="619706" y="903058"/>
                    </a:lnTo>
                    <a:lnTo>
                      <a:pt x="616074" y="901243"/>
                    </a:lnTo>
                    <a:lnTo>
                      <a:pt x="612669" y="899428"/>
                    </a:lnTo>
                    <a:lnTo>
                      <a:pt x="609037" y="896933"/>
                    </a:lnTo>
                    <a:lnTo>
                      <a:pt x="605858" y="894891"/>
                    </a:lnTo>
                    <a:lnTo>
                      <a:pt x="602680" y="892395"/>
                    </a:lnTo>
                    <a:lnTo>
                      <a:pt x="599729" y="889673"/>
                    </a:lnTo>
                    <a:lnTo>
                      <a:pt x="596778" y="886950"/>
                    </a:lnTo>
                    <a:lnTo>
                      <a:pt x="594054" y="884228"/>
                    </a:lnTo>
                    <a:lnTo>
                      <a:pt x="591557" y="881052"/>
                    </a:lnTo>
                    <a:lnTo>
                      <a:pt x="588833" y="877876"/>
                    </a:lnTo>
                    <a:lnTo>
                      <a:pt x="586790" y="874699"/>
                    </a:lnTo>
                    <a:lnTo>
                      <a:pt x="584520" y="871296"/>
                    </a:lnTo>
                    <a:lnTo>
                      <a:pt x="582704" y="867666"/>
                    </a:lnTo>
                    <a:lnTo>
                      <a:pt x="580661" y="864263"/>
                    </a:lnTo>
                    <a:lnTo>
                      <a:pt x="579072" y="860407"/>
                    </a:lnTo>
                    <a:lnTo>
                      <a:pt x="577710" y="856777"/>
                    </a:lnTo>
                    <a:lnTo>
                      <a:pt x="576348" y="852920"/>
                    </a:lnTo>
                    <a:lnTo>
                      <a:pt x="575212" y="849063"/>
                    </a:lnTo>
                    <a:lnTo>
                      <a:pt x="574077" y="844980"/>
                    </a:lnTo>
                    <a:lnTo>
                      <a:pt x="573396" y="840896"/>
                    </a:lnTo>
                    <a:lnTo>
                      <a:pt x="572942" y="836812"/>
                    </a:lnTo>
                    <a:lnTo>
                      <a:pt x="572488" y="832729"/>
                    </a:lnTo>
                    <a:lnTo>
                      <a:pt x="572488" y="828191"/>
                    </a:lnTo>
                    <a:lnTo>
                      <a:pt x="572488" y="825242"/>
                    </a:lnTo>
                    <a:lnTo>
                      <a:pt x="572715" y="822066"/>
                    </a:lnTo>
                    <a:lnTo>
                      <a:pt x="573623" y="815940"/>
                    </a:lnTo>
                    <a:lnTo>
                      <a:pt x="574986" y="810042"/>
                    </a:lnTo>
                    <a:lnTo>
                      <a:pt x="576575" y="804370"/>
                    </a:lnTo>
                    <a:lnTo>
                      <a:pt x="454445" y="733134"/>
                    </a:lnTo>
                    <a:lnTo>
                      <a:pt x="449904" y="736083"/>
                    </a:lnTo>
                    <a:lnTo>
                      <a:pt x="444910" y="738352"/>
                    </a:lnTo>
                    <a:lnTo>
                      <a:pt x="439689" y="740166"/>
                    </a:lnTo>
                    <a:lnTo>
                      <a:pt x="434468" y="741981"/>
                    </a:lnTo>
                    <a:lnTo>
                      <a:pt x="429020" y="743569"/>
                    </a:lnTo>
                    <a:lnTo>
                      <a:pt x="423571" y="744477"/>
                    </a:lnTo>
                    <a:lnTo>
                      <a:pt x="417669" y="745158"/>
                    </a:lnTo>
                    <a:lnTo>
                      <a:pt x="412221" y="745384"/>
                    </a:lnTo>
                    <a:lnTo>
                      <a:pt x="408589" y="745158"/>
                    </a:lnTo>
                    <a:lnTo>
                      <a:pt x="405411" y="744931"/>
                    </a:lnTo>
                    <a:lnTo>
                      <a:pt x="398828" y="744023"/>
                    </a:lnTo>
                    <a:lnTo>
                      <a:pt x="305755" y="898294"/>
                    </a:lnTo>
                    <a:lnTo>
                      <a:pt x="257175" y="869255"/>
                    </a:lnTo>
                    <a:lnTo>
                      <a:pt x="349113" y="716118"/>
                    </a:lnTo>
                    <a:lnTo>
                      <a:pt x="347070" y="713396"/>
                    </a:lnTo>
                    <a:lnTo>
                      <a:pt x="344573" y="710220"/>
                    </a:lnTo>
                    <a:lnTo>
                      <a:pt x="342757" y="707497"/>
                    </a:lnTo>
                    <a:lnTo>
                      <a:pt x="340714" y="704321"/>
                    </a:lnTo>
                    <a:lnTo>
                      <a:pt x="339125" y="701145"/>
                    </a:lnTo>
                    <a:lnTo>
                      <a:pt x="337536" y="697969"/>
                    </a:lnTo>
                    <a:lnTo>
                      <a:pt x="335720" y="694793"/>
                    </a:lnTo>
                    <a:lnTo>
                      <a:pt x="334358" y="691390"/>
                    </a:lnTo>
                    <a:lnTo>
                      <a:pt x="333223" y="687987"/>
                    </a:lnTo>
                    <a:lnTo>
                      <a:pt x="332087" y="684584"/>
                    </a:lnTo>
                    <a:lnTo>
                      <a:pt x="331179" y="680954"/>
                    </a:lnTo>
                    <a:lnTo>
                      <a:pt x="330498" y="677324"/>
                    </a:lnTo>
                    <a:lnTo>
                      <a:pt x="329590" y="673467"/>
                    </a:lnTo>
                    <a:lnTo>
                      <a:pt x="329136" y="670064"/>
                    </a:lnTo>
                    <a:lnTo>
                      <a:pt x="328909" y="665981"/>
                    </a:lnTo>
                    <a:lnTo>
                      <a:pt x="328909" y="662351"/>
                    </a:lnTo>
                    <a:lnTo>
                      <a:pt x="328909" y="658040"/>
                    </a:lnTo>
                    <a:lnTo>
                      <a:pt x="329363" y="653730"/>
                    </a:lnTo>
                    <a:lnTo>
                      <a:pt x="330044" y="649646"/>
                    </a:lnTo>
                    <a:lnTo>
                      <a:pt x="330725" y="645335"/>
                    </a:lnTo>
                    <a:lnTo>
                      <a:pt x="331633" y="641479"/>
                    </a:lnTo>
                    <a:lnTo>
                      <a:pt x="332768" y="637395"/>
                    </a:lnTo>
                    <a:lnTo>
                      <a:pt x="333904" y="633765"/>
                    </a:lnTo>
                    <a:lnTo>
                      <a:pt x="335493" y="629908"/>
                    </a:lnTo>
                    <a:lnTo>
                      <a:pt x="337082" y="626279"/>
                    </a:lnTo>
                    <a:lnTo>
                      <a:pt x="339125" y="622649"/>
                    </a:lnTo>
                    <a:lnTo>
                      <a:pt x="340941" y="619246"/>
                    </a:lnTo>
                    <a:lnTo>
                      <a:pt x="342984" y="615843"/>
                    </a:lnTo>
                    <a:lnTo>
                      <a:pt x="345481" y="612666"/>
                    </a:lnTo>
                    <a:lnTo>
                      <a:pt x="347978" y="609263"/>
                    </a:lnTo>
                    <a:lnTo>
                      <a:pt x="350475" y="606314"/>
                    </a:lnTo>
                    <a:lnTo>
                      <a:pt x="353426" y="603592"/>
                    </a:lnTo>
                    <a:lnTo>
                      <a:pt x="356150" y="600642"/>
                    </a:lnTo>
                    <a:lnTo>
                      <a:pt x="359101" y="598147"/>
                    </a:lnTo>
                    <a:lnTo>
                      <a:pt x="362279" y="595878"/>
                    </a:lnTo>
                    <a:lnTo>
                      <a:pt x="365458" y="593383"/>
                    </a:lnTo>
                    <a:lnTo>
                      <a:pt x="369090" y="591341"/>
                    </a:lnTo>
                    <a:lnTo>
                      <a:pt x="372495" y="589299"/>
                    </a:lnTo>
                    <a:lnTo>
                      <a:pt x="376127" y="587484"/>
                    </a:lnTo>
                    <a:lnTo>
                      <a:pt x="379759" y="585669"/>
                    </a:lnTo>
                    <a:lnTo>
                      <a:pt x="383618" y="584308"/>
                    </a:lnTo>
                    <a:lnTo>
                      <a:pt x="387250" y="582947"/>
                    </a:lnTo>
                    <a:lnTo>
                      <a:pt x="391336" y="581812"/>
                    </a:lnTo>
                    <a:lnTo>
                      <a:pt x="395196" y="580905"/>
                    </a:lnTo>
                    <a:lnTo>
                      <a:pt x="399509" y="580224"/>
                    </a:lnTo>
                    <a:lnTo>
                      <a:pt x="403368" y="579544"/>
                    </a:lnTo>
                    <a:lnTo>
                      <a:pt x="407681" y="579317"/>
                    </a:lnTo>
                    <a:lnTo>
                      <a:pt x="412221" y="579090"/>
                    </a:lnTo>
                    <a:lnTo>
                      <a:pt x="416307" y="579317"/>
                    </a:lnTo>
                    <a:lnTo>
                      <a:pt x="420620" y="579544"/>
                    </a:lnTo>
                    <a:lnTo>
                      <a:pt x="424707" y="580224"/>
                    </a:lnTo>
                    <a:lnTo>
                      <a:pt x="428793" y="580905"/>
                    </a:lnTo>
                    <a:lnTo>
                      <a:pt x="432652" y="581812"/>
                    </a:lnTo>
                    <a:lnTo>
                      <a:pt x="436738" y="582947"/>
                    </a:lnTo>
                    <a:lnTo>
                      <a:pt x="440597" y="584308"/>
                    </a:lnTo>
                    <a:lnTo>
                      <a:pt x="444456" y="585669"/>
                    </a:lnTo>
                    <a:lnTo>
                      <a:pt x="447861" y="587484"/>
                    </a:lnTo>
                    <a:lnTo>
                      <a:pt x="451720" y="589299"/>
                    </a:lnTo>
                    <a:lnTo>
                      <a:pt x="454899" y="591341"/>
                    </a:lnTo>
                    <a:lnTo>
                      <a:pt x="458531" y="593383"/>
                    </a:lnTo>
                    <a:lnTo>
                      <a:pt x="461709" y="595878"/>
                    </a:lnTo>
                    <a:lnTo>
                      <a:pt x="464887" y="598147"/>
                    </a:lnTo>
                    <a:lnTo>
                      <a:pt x="467838" y="600642"/>
                    </a:lnTo>
                    <a:lnTo>
                      <a:pt x="470562" y="603592"/>
                    </a:lnTo>
                    <a:lnTo>
                      <a:pt x="473513" y="606314"/>
                    </a:lnTo>
                    <a:lnTo>
                      <a:pt x="476010" y="609263"/>
                    </a:lnTo>
                    <a:lnTo>
                      <a:pt x="478734" y="612666"/>
                    </a:lnTo>
                    <a:lnTo>
                      <a:pt x="481004" y="615843"/>
                    </a:lnTo>
                    <a:lnTo>
                      <a:pt x="483047" y="619246"/>
                    </a:lnTo>
                    <a:lnTo>
                      <a:pt x="484864" y="622649"/>
                    </a:lnTo>
                    <a:lnTo>
                      <a:pt x="486907" y="626279"/>
                    </a:lnTo>
                    <a:lnTo>
                      <a:pt x="488496" y="629908"/>
                    </a:lnTo>
                    <a:lnTo>
                      <a:pt x="490085" y="633765"/>
                    </a:lnTo>
                    <a:lnTo>
                      <a:pt x="491220" y="637395"/>
                    </a:lnTo>
                    <a:lnTo>
                      <a:pt x="492355" y="641479"/>
                    </a:lnTo>
                    <a:lnTo>
                      <a:pt x="493490" y="645335"/>
                    </a:lnTo>
                    <a:lnTo>
                      <a:pt x="494171" y="649646"/>
                    </a:lnTo>
                    <a:lnTo>
                      <a:pt x="494625" y="653730"/>
                    </a:lnTo>
                    <a:lnTo>
                      <a:pt x="495079" y="658040"/>
                    </a:lnTo>
                    <a:lnTo>
                      <a:pt x="495079" y="662351"/>
                    </a:lnTo>
                    <a:lnTo>
                      <a:pt x="495079" y="665527"/>
                    </a:lnTo>
                    <a:lnTo>
                      <a:pt x="494852" y="669157"/>
                    </a:lnTo>
                    <a:lnTo>
                      <a:pt x="494398" y="672333"/>
                    </a:lnTo>
                    <a:lnTo>
                      <a:pt x="493944" y="675509"/>
                    </a:lnTo>
                    <a:lnTo>
                      <a:pt x="492355" y="682088"/>
                    </a:lnTo>
                    <a:lnTo>
                      <a:pt x="490539" y="688214"/>
                    </a:lnTo>
                    <a:lnTo>
                      <a:pt x="610853" y="758543"/>
                    </a:lnTo>
                    <a:lnTo>
                      <a:pt x="616528" y="755140"/>
                    </a:lnTo>
                    <a:lnTo>
                      <a:pt x="622430" y="752417"/>
                    </a:lnTo>
                    <a:lnTo>
                      <a:pt x="628559" y="749922"/>
                    </a:lnTo>
                    <a:lnTo>
                      <a:pt x="634915" y="748107"/>
                    </a:lnTo>
                    <a:lnTo>
                      <a:pt x="690305" y="547101"/>
                    </a:lnTo>
                    <a:lnTo>
                      <a:pt x="686673" y="544152"/>
                    </a:lnTo>
                    <a:lnTo>
                      <a:pt x="682814" y="540976"/>
                    </a:lnTo>
                    <a:lnTo>
                      <a:pt x="679409" y="537800"/>
                    </a:lnTo>
                    <a:lnTo>
                      <a:pt x="676004" y="533943"/>
                    </a:lnTo>
                    <a:lnTo>
                      <a:pt x="673053" y="530540"/>
                    </a:lnTo>
                    <a:lnTo>
                      <a:pt x="670102" y="526456"/>
                    </a:lnTo>
                    <a:lnTo>
                      <a:pt x="667605" y="522373"/>
                    </a:lnTo>
                    <a:lnTo>
                      <a:pt x="665107" y="518062"/>
                    </a:lnTo>
                    <a:lnTo>
                      <a:pt x="662837" y="513979"/>
                    </a:lnTo>
                    <a:lnTo>
                      <a:pt x="661021" y="509214"/>
                    </a:lnTo>
                    <a:lnTo>
                      <a:pt x="659432" y="504450"/>
                    </a:lnTo>
                    <a:lnTo>
                      <a:pt x="658070" y="499913"/>
                    </a:lnTo>
                    <a:lnTo>
                      <a:pt x="657162" y="494922"/>
                    </a:lnTo>
                    <a:lnTo>
                      <a:pt x="656027" y="489931"/>
                    </a:lnTo>
                    <a:lnTo>
                      <a:pt x="655573" y="484940"/>
                    </a:lnTo>
                    <a:lnTo>
                      <a:pt x="655573" y="479722"/>
                    </a:lnTo>
                    <a:lnTo>
                      <a:pt x="655573" y="475411"/>
                    </a:lnTo>
                    <a:lnTo>
                      <a:pt x="655800" y="471327"/>
                    </a:lnTo>
                    <a:lnTo>
                      <a:pt x="656708" y="467017"/>
                    </a:lnTo>
                    <a:lnTo>
                      <a:pt x="657389" y="463160"/>
                    </a:lnTo>
                    <a:lnTo>
                      <a:pt x="658297" y="458850"/>
                    </a:lnTo>
                    <a:lnTo>
                      <a:pt x="659432" y="455220"/>
                    </a:lnTo>
                    <a:lnTo>
                      <a:pt x="660567" y="451136"/>
                    </a:lnTo>
                    <a:lnTo>
                      <a:pt x="661929" y="447506"/>
                    </a:lnTo>
                    <a:lnTo>
                      <a:pt x="663745" y="443649"/>
                    </a:lnTo>
                    <a:lnTo>
                      <a:pt x="665561" y="440246"/>
                    </a:lnTo>
                    <a:lnTo>
                      <a:pt x="667605" y="436617"/>
                    </a:lnTo>
                    <a:lnTo>
                      <a:pt x="669648" y="433440"/>
                    </a:lnTo>
                    <a:lnTo>
                      <a:pt x="672145" y="430037"/>
                    </a:lnTo>
                    <a:lnTo>
                      <a:pt x="674642" y="426861"/>
                    </a:lnTo>
                    <a:lnTo>
                      <a:pt x="677139" y="423912"/>
                    </a:lnTo>
                    <a:lnTo>
                      <a:pt x="679863" y="420963"/>
                    </a:lnTo>
                    <a:lnTo>
                      <a:pt x="682814" y="418240"/>
                    </a:lnTo>
                    <a:lnTo>
                      <a:pt x="685765" y="415518"/>
                    </a:lnTo>
                    <a:lnTo>
                      <a:pt x="688943" y="413249"/>
                    </a:lnTo>
                    <a:lnTo>
                      <a:pt x="692121" y="410980"/>
                    </a:lnTo>
                    <a:lnTo>
                      <a:pt x="695526" y="408712"/>
                    </a:lnTo>
                    <a:lnTo>
                      <a:pt x="698932" y="406670"/>
                    </a:lnTo>
                    <a:lnTo>
                      <a:pt x="702791" y="404855"/>
                    </a:lnTo>
                    <a:lnTo>
                      <a:pt x="706196" y="403267"/>
                    </a:lnTo>
                    <a:lnTo>
                      <a:pt x="710055" y="401679"/>
                    </a:lnTo>
                    <a:lnTo>
                      <a:pt x="713914" y="400318"/>
                    </a:lnTo>
                    <a:lnTo>
                      <a:pt x="718000" y="399410"/>
                    </a:lnTo>
                    <a:lnTo>
                      <a:pt x="721859" y="398503"/>
                    </a:lnTo>
                    <a:lnTo>
                      <a:pt x="725945" y="397595"/>
                    </a:lnTo>
                    <a:lnTo>
                      <a:pt x="730032" y="397141"/>
                    </a:lnTo>
                    <a:lnTo>
                      <a:pt x="734345" y="396915"/>
                    </a:lnTo>
                    <a:lnTo>
                      <a:pt x="738658" y="396688"/>
                    </a:lnTo>
                    <a:lnTo>
                      <a:pt x="744106" y="396915"/>
                    </a:lnTo>
                    <a:lnTo>
                      <a:pt x="749554" y="397595"/>
                    </a:lnTo>
                    <a:lnTo>
                      <a:pt x="754775" y="398276"/>
                    </a:lnTo>
                    <a:lnTo>
                      <a:pt x="759770" y="399637"/>
                    </a:lnTo>
                    <a:lnTo>
                      <a:pt x="764764" y="400998"/>
                    </a:lnTo>
                    <a:lnTo>
                      <a:pt x="769758" y="403040"/>
                    </a:lnTo>
                    <a:lnTo>
                      <a:pt x="774298" y="405082"/>
                    </a:lnTo>
                    <a:lnTo>
                      <a:pt x="778838" y="407577"/>
                    </a:lnTo>
                    <a:lnTo>
                      <a:pt x="916859" y="288925"/>
                    </a:lnTo>
                    <a:close/>
                    <a:moveTo>
                      <a:pt x="607752" y="120128"/>
                    </a:moveTo>
                    <a:lnTo>
                      <a:pt x="595738" y="120581"/>
                    </a:lnTo>
                    <a:lnTo>
                      <a:pt x="583950" y="121488"/>
                    </a:lnTo>
                    <a:lnTo>
                      <a:pt x="571936" y="122621"/>
                    </a:lnTo>
                    <a:lnTo>
                      <a:pt x="559921" y="123755"/>
                    </a:lnTo>
                    <a:lnTo>
                      <a:pt x="548133" y="125341"/>
                    </a:lnTo>
                    <a:lnTo>
                      <a:pt x="536119" y="127154"/>
                    </a:lnTo>
                    <a:lnTo>
                      <a:pt x="524331" y="129421"/>
                    </a:lnTo>
                    <a:lnTo>
                      <a:pt x="512543" y="131688"/>
                    </a:lnTo>
                    <a:lnTo>
                      <a:pt x="500755" y="134407"/>
                    </a:lnTo>
                    <a:lnTo>
                      <a:pt x="489194" y="137581"/>
                    </a:lnTo>
                    <a:lnTo>
                      <a:pt x="477406" y="140754"/>
                    </a:lnTo>
                    <a:lnTo>
                      <a:pt x="466072" y="144380"/>
                    </a:lnTo>
                    <a:lnTo>
                      <a:pt x="454511" y="148234"/>
                    </a:lnTo>
                    <a:lnTo>
                      <a:pt x="443176" y="152313"/>
                    </a:lnTo>
                    <a:lnTo>
                      <a:pt x="431615" y="156620"/>
                    </a:lnTo>
                    <a:lnTo>
                      <a:pt x="420508" y="161380"/>
                    </a:lnTo>
                    <a:lnTo>
                      <a:pt x="409400" y="166593"/>
                    </a:lnTo>
                    <a:lnTo>
                      <a:pt x="398519" y="171579"/>
                    </a:lnTo>
                    <a:lnTo>
                      <a:pt x="387411" y="177246"/>
                    </a:lnTo>
                    <a:lnTo>
                      <a:pt x="376530" y="183139"/>
                    </a:lnTo>
                    <a:lnTo>
                      <a:pt x="365876" y="189485"/>
                    </a:lnTo>
                    <a:lnTo>
                      <a:pt x="355221" y="195831"/>
                    </a:lnTo>
                    <a:lnTo>
                      <a:pt x="344794" y="202631"/>
                    </a:lnTo>
                    <a:lnTo>
                      <a:pt x="334593" y="209431"/>
                    </a:lnTo>
                    <a:lnTo>
                      <a:pt x="324392" y="216684"/>
                    </a:lnTo>
                    <a:lnTo>
                      <a:pt x="314191" y="224163"/>
                    </a:lnTo>
                    <a:lnTo>
                      <a:pt x="304443" y="232323"/>
                    </a:lnTo>
                    <a:lnTo>
                      <a:pt x="294695" y="240483"/>
                    </a:lnTo>
                    <a:lnTo>
                      <a:pt x="284948" y="248869"/>
                    </a:lnTo>
                    <a:lnTo>
                      <a:pt x="275654" y="257482"/>
                    </a:lnTo>
                    <a:lnTo>
                      <a:pt x="266359" y="266548"/>
                    </a:lnTo>
                    <a:lnTo>
                      <a:pt x="257518" y="275614"/>
                    </a:lnTo>
                    <a:lnTo>
                      <a:pt x="248678" y="285134"/>
                    </a:lnTo>
                    <a:lnTo>
                      <a:pt x="240290" y="294654"/>
                    </a:lnTo>
                    <a:lnTo>
                      <a:pt x="232129" y="304400"/>
                    </a:lnTo>
                    <a:lnTo>
                      <a:pt x="224195" y="314373"/>
                    </a:lnTo>
                    <a:lnTo>
                      <a:pt x="216714" y="324346"/>
                    </a:lnTo>
                    <a:lnTo>
                      <a:pt x="209460" y="334545"/>
                    </a:lnTo>
                    <a:lnTo>
                      <a:pt x="202433" y="344971"/>
                    </a:lnTo>
                    <a:lnTo>
                      <a:pt x="195632" y="355397"/>
                    </a:lnTo>
                    <a:lnTo>
                      <a:pt x="189058" y="366050"/>
                    </a:lnTo>
                    <a:lnTo>
                      <a:pt x="183164" y="376703"/>
                    </a:lnTo>
                    <a:lnTo>
                      <a:pt x="177271" y="387583"/>
                    </a:lnTo>
                    <a:lnTo>
                      <a:pt x="171603" y="398462"/>
                    </a:lnTo>
                    <a:lnTo>
                      <a:pt x="166390" y="409342"/>
                    </a:lnTo>
                    <a:lnTo>
                      <a:pt x="161402" y="420448"/>
                    </a:lnTo>
                    <a:lnTo>
                      <a:pt x="156642" y="431554"/>
                    </a:lnTo>
                    <a:lnTo>
                      <a:pt x="152108" y="443114"/>
                    </a:lnTo>
                    <a:lnTo>
                      <a:pt x="148028" y="454673"/>
                    </a:lnTo>
                    <a:lnTo>
                      <a:pt x="144174" y="466006"/>
                    </a:lnTo>
                    <a:lnTo>
                      <a:pt x="140774" y="477565"/>
                    </a:lnTo>
                    <a:lnTo>
                      <a:pt x="137373" y="489125"/>
                    </a:lnTo>
                    <a:lnTo>
                      <a:pt x="134426" y="500911"/>
                    </a:lnTo>
                    <a:lnTo>
                      <a:pt x="131706" y="512470"/>
                    </a:lnTo>
                    <a:lnTo>
                      <a:pt x="129213" y="524256"/>
                    </a:lnTo>
                    <a:lnTo>
                      <a:pt x="127172" y="536269"/>
                    </a:lnTo>
                    <a:lnTo>
                      <a:pt x="125359" y="548055"/>
                    </a:lnTo>
                    <a:lnTo>
                      <a:pt x="123772" y="560068"/>
                    </a:lnTo>
                    <a:lnTo>
                      <a:pt x="122185" y="571854"/>
                    </a:lnTo>
                    <a:lnTo>
                      <a:pt x="121278" y="583867"/>
                    </a:lnTo>
                    <a:lnTo>
                      <a:pt x="120598" y="595880"/>
                    </a:lnTo>
                    <a:lnTo>
                      <a:pt x="120145" y="607666"/>
                    </a:lnTo>
                    <a:lnTo>
                      <a:pt x="120145" y="619905"/>
                    </a:lnTo>
                    <a:lnTo>
                      <a:pt x="120145" y="631918"/>
                    </a:lnTo>
                    <a:lnTo>
                      <a:pt x="120598" y="643704"/>
                    </a:lnTo>
                    <a:lnTo>
                      <a:pt x="121278" y="655717"/>
                    </a:lnTo>
                    <a:lnTo>
                      <a:pt x="122185" y="667503"/>
                    </a:lnTo>
                    <a:lnTo>
                      <a:pt x="123772" y="679516"/>
                    </a:lnTo>
                    <a:lnTo>
                      <a:pt x="125359" y="691529"/>
                    </a:lnTo>
                    <a:lnTo>
                      <a:pt x="127172" y="703315"/>
                    </a:lnTo>
                    <a:lnTo>
                      <a:pt x="129213" y="715328"/>
                    </a:lnTo>
                    <a:lnTo>
                      <a:pt x="131706" y="726887"/>
                    </a:lnTo>
                    <a:lnTo>
                      <a:pt x="134426" y="738673"/>
                    </a:lnTo>
                    <a:lnTo>
                      <a:pt x="137373" y="750460"/>
                    </a:lnTo>
                    <a:lnTo>
                      <a:pt x="140774" y="762019"/>
                    </a:lnTo>
                    <a:lnTo>
                      <a:pt x="144174" y="773579"/>
                    </a:lnTo>
                    <a:lnTo>
                      <a:pt x="148028" y="784911"/>
                    </a:lnTo>
                    <a:lnTo>
                      <a:pt x="152108" y="796471"/>
                    </a:lnTo>
                    <a:lnTo>
                      <a:pt x="156642" y="807804"/>
                    </a:lnTo>
                    <a:lnTo>
                      <a:pt x="161402" y="819136"/>
                    </a:lnTo>
                    <a:lnTo>
                      <a:pt x="166390" y="830016"/>
                    </a:lnTo>
                    <a:lnTo>
                      <a:pt x="171603" y="841122"/>
                    </a:lnTo>
                    <a:lnTo>
                      <a:pt x="177271" y="852002"/>
                    </a:lnTo>
                    <a:lnTo>
                      <a:pt x="183164" y="862881"/>
                    </a:lnTo>
                    <a:lnTo>
                      <a:pt x="189058" y="873534"/>
                    </a:lnTo>
                    <a:lnTo>
                      <a:pt x="195632" y="884187"/>
                    </a:lnTo>
                    <a:lnTo>
                      <a:pt x="202433" y="894613"/>
                    </a:lnTo>
                    <a:lnTo>
                      <a:pt x="209460" y="904813"/>
                    </a:lnTo>
                    <a:lnTo>
                      <a:pt x="216714" y="915239"/>
                    </a:lnTo>
                    <a:lnTo>
                      <a:pt x="224195" y="925212"/>
                    </a:lnTo>
                    <a:lnTo>
                      <a:pt x="232129" y="934958"/>
                    </a:lnTo>
                    <a:lnTo>
                      <a:pt x="240290" y="944931"/>
                    </a:lnTo>
                    <a:lnTo>
                      <a:pt x="248678" y="954450"/>
                    </a:lnTo>
                    <a:lnTo>
                      <a:pt x="257518" y="963743"/>
                    </a:lnTo>
                    <a:lnTo>
                      <a:pt x="266359" y="973036"/>
                    </a:lnTo>
                    <a:lnTo>
                      <a:pt x="275654" y="982102"/>
                    </a:lnTo>
                    <a:lnTo>
                      <a:pt x="284948" y="990715"/>
                    </a:lnTo>
                    <a:lnTo>
                      <a:pt x="294695" y="999102"/>
                    </a:lnTo>
                    <a:lnTo>
                      <a:pt x="304443" y="1007261"/>
                    </a:lnTo>
                    <a:lnTo>
                      <a:pt x="314191" y="1015194"/>
                    </a:lnTo>
                    <a:lnTo>
                      <a:pt x="324392" y="1022674"/>
                    </a:lnTo>
                    <a:lnTo>
                      <a:pt x="334593" y="1029927"/>
                    </a:lnTo>
                    <a:lnTo>
                      <a:pt x="344794" y="1036953"/>
                    </a:lnTo>
                    <a:lnTo>
                      <a:pt x="355221" y="1043753"/>
                    </a:lnTo>
                    <a:lnTo>
                      <a:pt x="365876" y="1050099"/>
                    </a:lnTo>
                    <a:lnTo>
                      <a:pt x="376530" y="1056446"/>
                    </a:lnTo>
                    <a:lnTo>
                      <a:pt x="387411" y="1062339"/>
                    </a:lnTo>
                    <a:lnTo>
                      <a:pt x="398292" y="1067779"/>
                    </a:lnTo>
                    <a:lnTo>
                      <a:pt x="409400" y="1072992"/>
                    </a:lnTo>
                    <a:lnTo>
                      <a:pt x="420508" y="1078205"/>
                    </a:lnTo>
                    <a:lnTo>
                      <a:pt x="431615" y="1082738"/>
                    </a:lnTo>
                    <a:lnTo>
                      <a:pt x="443176" y="1087271"/>
                    </a:lnTo>
                    <a:lnTo>
                      <a:pt x="454511" y="1091351"/>
                    </a:lnTo>
                    <a:lnTo>
                      <a:pt x="466072" y="1095204"/>
                    </a:lnTo>
                    <a:lnTo>
                      <a:pt x="477406" y="1098830"/>
                    </a:lnTo>
                    <a:lnTo>
                      <a:pt x="489194" y="1102004"/>
                    </a:lnTo>
                    <a:lnTo>
                      <a:pt x="500755" y="1104950"/>
                    </a:lnTo>
                    <a:lnTo>
                      <a:pt x="512543" y="1107897"/>
                    </a:lnTo>
                    <a:lnTo>
                      <a:pt x="524331" y="1110163"/>
                    </a:lnTo>
                    <a:lnTo>
                      <a:pt x="536119" y="1112203"/>
                    </a:lnTo>
                    <a:lnTo>
                      <a:pt x="548133" y="1114243"/>
                    </a:lnTo>
                    <a:lnTo>
                      <a:pt x="559921" y="1115830"/>
                    </a:lnTo>
                    <a:lnTo>
                      <a:pt x="571936" y="1116963"/>
                    </a:lnTo>
                    <a:lnTo>
                      <a:pt x="583950" y="1118096"/>
                    </a:lnTo>
                    <a:lnTo>
                      <a:pt x="595738" y="1118776"/>
                    </a:lnTo>
                    <a:lnTo>
                      <a:pt x="607752" y="1119230"/>
                    </a:lnTo>
                    <a:lnTo>
                      <a:pt x="619540" y="1119230"/>
                    </a:lnTo>
                    <a:lnTo>
                      <a:pt x="631782" y="1119230"/>
                    </a:lnTo>
                    <a:lnTo>
                      <a:pt x="643796" y="1118776"/>
                    </a:lnTo>
                    <a:lnTo>
                      <a:pt x="655584" y="1118096"/>
                    </a:lnTo>
                    <a:lnTo>
                      <a:pt x="667598" y="1116963"/>
                    </a:lnTo>
                    <a:lnTo>
                      <a:pt x="679613" y="1115830"/>
                    </a:lnTo>
                    <a:lnTo>
                      <a:pt x="691401" y="1114243"/>
                    </a:lnTo>
                    <a:lnTo>
                      <a:pt x="703415" y="1112203"/>
                    </a:lnTo>
                    <a:lnTo>
                      <a:pt x="715203" y="1110163"/>
                    </a:lnTo>
                    <a:lnTo>
                      <a:pt x="726991" y="1107897"/>
                    </a:lnTo>
                    <a:lnTo>
                      <a:pt x="738779" y="1104950"/>
                    </a:lnTo>
                    <a:lnTo>
                      <a:pt x="750340" y="1102004"/>
                    </a:lnTo>
                    <a:lnTo>
                      <a:pt x="762128" y="1098830"/>
                    </a:lnTo>
                    <a:lnTo>
                      <a:pt x="773462" y="1095204"/>
                    </a:lnTo>
                    <a:lnTo>
                      <a:pt x="785023" y="1091351"/>
                    </a:lnTo>
                    <a:lnTo>
                      <a:pt x="796358" y="1087271"/>
                    </a:lnTo>
                    <a:lnTo>
                      <a:pt x="807692" y="1082738"/>
                    </a:lnTo>
                    <a:lnTo>
                      <a:pt x="819026" y="1078205"/>
                    </a:lnTo>
                    <a:lnTo>
                      <a:pt x="830134" y="1072992"/>
                    </a:lnTo>
                    <a:lnTo>
                      <a:pt x="841015" y="1067779"/>
                    </a:lnTo>
                    <a:lnTo>
                      <a:pt x="852123" y="1062339"/>
                    </a:lnTo>
                    <a:lnTo>
                      <a:pt x="862777" y="1056446"/>
                    </a:lnTo>
                    <a:lnTo>
                      <a:pt x="873658" y="1050099"/>
                    </a:lnTo>
                    <a:lnTo>
                      <a:pt x="884086" y="1043753"/>
                    </a:lnTo>
                    <a:lnTo>
                      <a:pt x="894740" y="1036953"/>
                    </a:lnTo>
                    <a:lnTo>
                      <a:pt x="904941" y="1029927"/>
                    </a:lnTo>
                    <a:lnTo>
                      <a:pt x="915142" y="1022674"/>
                    </a:lnTo>
                    <a:lnTo>
                      <a:pt x="925343" y="1015194"/>
                    </a:lnTo>
                    <a:lnTo>
                      <a:pt x="935091" y="1007261"/>
                    </a:lnTo>
                    <a:lnTo>
                      <a:pt x="944839" y="999102"/>
                    </a:lnTo>
                    <a:lnTo>
                      <a:pt x="954586" y="990715"/>
                    </a:lnTo>
                    <a:lnTo>
                      <a:pt x="963880" y="982102"/>
                    </a:lnTo>
                    <a:lnTo>
                      <a:pt x="972948" y="973036"/>
                    </a:lnTo>
                    <a:lnTo>
                      <a:pt x="982016" y="963743"/>
                    </a:lnTo>
                    <a:lnTo>
                      <a:pt x="990856" y="954450"/>
                    </a:lnTo>
                    <a:lnTo>
                      <a:pt x="999244" y="944931"/>
                    </a:lnTo>
                    <a:lnTo>
                      <a:pt x="1007405" y="934958"/>
                    </a:lnTo>
                    <a:lnTo>
                      <a:pt x="1015339" y="925212"/>
                    </a:lnTo>
                    <a:lnTo>
                      <a:pt x="1022820" y="915239"/>
                    </a:lnTo>
                    <a:lnTo>
                      <a:pt x="1030074" y="904813"/>
                    </a:lnTo>
                    <a:lnTo>
                      <a:pt x="1037101" y="894613"/>
                    </a:lnTo>
                    <a:lnTo>
                      <a:pt x="1043902" y="884187"/>
                    </a:lnTo>
                    <a:lnTo>
                      <a:pt x="1050249" y="873534"/>
                    </a:lnTo>
                    <a:lnTo>
                      <a:pt x="1056370" y="862881"/>
                    </a:lnTo>
                    <a:lnTo>
                      <a:pt x="1062263" y="852002"/>
                    </a:lnTo>
                    <a:lnTo>
                      <a:pt x="1067931" y="841122"/>
                    </a:lnTo>
                    <a:lnTo>
                      <a:pt x="1073144" y="830016"/>
                    </a:lnTo>
                    <a:lnTo>
                      <a:pt x="1078132" y="819136"/>
                    </a:lnTo>
                    <a:lnTo>
                      <a:pt x="1082892" y="807804"/>
                    </a:lnTo>
                    <a:lnTo>
                      <a:pt x="1087426" y="796471"/>
                    </a:lnTo>
                    <a:lnTo>
                      <a:pt x="1091280" y="784911"/>
                    </a:lnTo>
                    <a:lnTo>
                      <a:pt x="1095360" y="773579"/>
                    </a:lnTo>
                    <a:lnTo>
                      <a:pt x="1098760" y="762019"/>
                    </a:lnTo>
                    <a:lnTo>
                      <a:pt x="1102161" y="750460"/>
                    </a:lnTo>
                    <a:lnTo>
                      <a:pt x="1105108" y="738673"/>
                    </a:lnTo>
                    <a:lnTo>
                      <a:pt x="1107828" y="726887"/>
                    </a:lnTo>
                    <a:lnTo>
                      <a:pt x="1110321" y="715328"/>
                    </a:lnTo>
                    <a:lnTo>
                      <a:pt x="1112362" y="703315"/>
                    </a:lnTo>
                    <a:lnTo>
                      <a:pt x="1114175" y="691529"/>
                    </a:lnTo>
                    <a:lnTo>
                      <a:pt x="1115762" y="679516"/>
                    </a:lnTo>
                    <a:lnTo>
                      <a:pt x="1117122" y="667503"/>
                    </a:lnTo>
                    <a:lnTo>
                      <a:pt x="1118256" y="655717"/>
                    </a:lnTo>
                    <a:lnTo>
                      <a:pt x="1118936" y="643704"/>
                    </a:lnTo>
                    <a:lnTo>
                      <a:pt x="1119389" y="631918"/>
                    </a:lnTo>
                    <a:lnTo>
                      <a:pt x="1119389" y="619905"/>
                    </a:lnTo>
                    <a:lnTo>
                      <a:pt x="1119389" y="607666"/>
                    </a:lnTo>
                    <a:lnTo>
                      <a:pt x="1118936" y="595880"/>
                    </a:lnTo>
                    <a:lnTo>
                      <a:pt x="1118256" y="583867"/>
                    </a:lnTo>
                    <a:lnTo>
                      <a:pt x="1117122" y="571854"/>
                    </a:lnTo>
                    <a:lnTo>
                      <a:pt x="1115762" y="560068"/>
                    </a:lnTo>
                    <a:lnTo>
                      <a:pt x="1114175" y="548055"/>
                    </a:lnTo>
                    <a:lnTo>
                      <a:pt x="1112362" y="536269"/>
                    </a:lnTo>
                    <a:lnTo>
                      <a:pt x="1110321" y="524256"/>
                    </a:lnTo>
                    <a:lnTo>
                      <a:pt x="1107828" y="512470"/>
                    </a:lnTo>
                    <a:lnTo>
                      <a:pt x="1105108" y="500911"/>
                    </a:lnTo>
                    <a:lnTo>
                      <a:pt x="1102161" y="489125"/>
                    </a:lnTo>
                    <a:lnTo>
                      <a:pt x="1098760" y="477565"/>
                    </a:lnTo>
                    <a:lnTo>
                      <a:pt x="1095360" y="466006"/>
                    </a:lnTo>
                    <a:lnTo>
                      <a:pt x="1091280" y="454673"/>
                    </a:lnTo>
                    <a:lnTo>
                      <a:pt x="1087426" y="443114"/>
                    </a:lnTo>
                    <a:lnTo>
                      <a:pt x="1082892" y="431554"/>
                    </a:lnTo>
                    <a:lnTo>
                      <a:pt x="1078132" y="420448"/>
                    </a:lnTo>
                    <a:lnTo>
                      <a:pt x="1073144" y="409342"/>
                    </a:lnTo>
                    <a:lnTo>
                      <a:pt x="1067931" y="398462"/>
                    </a:lnTo>
                    <a:lnTo>
                      <a:pt x="1062263" y="387583"/>
                    </a:lnTo>
                    <a:lnTo>
                      <a:pt x="1056370" y="376703"/>
                    </a:lnTo>
                    <a:lnTo>
                      <a:pt x="1050249" y="366050"/>
                    </a:lnTo>
                    <a:lnTo>
                      <a:pt x="1043902" y="355397"/>
                    </a:lnTo>
                    <a:lnTo>
                      <a:pt x="1037101" y="344971"/>
                    </a:lnTo>
                    <a:lnTo>
                      <a:pt x="1030074" y="334545"/>
                    </a:lnTo>
                    <a:lnTo>
                      <a:pt x="1022820" y="324346"/>
                    </a:lnTo>
                    <a:lnTo>
                      <a:pt x="1015339" y="314373"/>
                    </a:lnTo>
                    <a:lnTo>
                      <a:pt x="1007405" y="304400"/>
                    </a:lnTo>
                    <a:lnTo>
                      <a:pt x="999244" y="294654"/>
                    </a:lnTo>
                    <a:lnTo>
                      <a:pt x="990856" y="285134"/>
                    </a:lnTo>
                    <a:lnTo>
                      <a:pt x="982016" y="275614"/>
                    </a:lnTo>
                    <a:lnTo>
                      <a:pt x="972948" y="266548"/>
                    </a:lnTo>
                    <a:lnTo>
                      <a:pt x="963880" y="257482"/>
                    </a:lnTo>
                    <a:lnTo>
                      <a:pt x="954586" y="248869"/>
                    </a:lnTo>
                    <a:lnTo>
                      <a:pt x="944839" y="240483"/>
                    </a:lnTo>
                    <a:lnTo>
                      <a:pt x="935091" y="232323"/>
                    </a:lnTo>
                    <a:lnTo>
                      <a:pt x="925343" y="224163"/>
                    </a:lnTo>
                    <a:lnTo>
                      <a:pt x="915142" y="216684"/>
                    </a:lnTo>
                    <a:lnTo>
                      <a:pt x="904941" y="209431"/>
                    </a:lnTo>
                    <a:lnTo>
                      <a:pt x="894740" y="202631"/>
                    </a:lnTo>
                    <a:lnTo>
                      <a:pt x="884086" y="195831"/>
                    </a:lnTo>
                    <a:lnTo>
                      <a:pt x="873658" y="189485"/>
                    </a:lnTo>
                    <a:lnTo>
                      <a:pt x="862777" y="183139"/>
                    </a:lnTo>
                    <a:lnTo>
                      <a:pt x="852123" y="177246"/>
                    </a:lnTo>
                    <a:lnTo>
                      <a:pt x="841015" y="171579"/>
                    </a:lnTo>
                    <a:lnTo>
                      <a:pt x="830134" y="166593"/>
                    </a:lnTo>
                    <a:lnTo>
                      <a:pt x="819026" y="161380"/>
                    </a:lnTo>
                    <a:lnTo>
                      <a:pt x="807692" y="156620"/>
                    </a:lnTo>
                    <a:lnTo>
                      <a:pt x="796358" y="152313"/>
                    </a:lnTo>
                    <a:lnTo>
                      <a:pt x="785023" y="148234"/>
                    </a:lnTo>
                    <a:lnTo>
                      <a:pt x="773462" y="144380"/>
                    </a:lnTo>
                    <a:lnTo>
                      <a:pt x="762128" y="140754"/>
                    </a:lnTo>
                    <a:lnTo>
                      <a:pt x="750340" y="137581"/>
                    </a:lnTo>
                    <a:lnTo>
                      <a:pt x="738779" y="134407"/>
                    </a:lnTo>
                    <a:lnTo>
                      <a:pt x="726991" y="131688"/>
                    </a:lnTo>
                    <a:lnTo>
                      <a:pt x="715203" y="129421"/>
                    </a:lnTo>
                    <a:lnTo>
                      <a:pt x="703415" y="127154"/>
                    </a:lnTo>
                    <a:lnTo>
                      <a:pt x="691401" y="125341"/>
                    </a:lnTo>
                    <a:lnTo>
                      <a:pt x="679613" y="123755"/>
                    </a:lnTo>
                    <a:lnTo>
                      <a:pt x="667598" y="122621"/>
                    </a:lnTo>
                    <a:lnTo>
                      <a:pt x="655584" y="121488"/>
                    </a:lnTo>
                    <a:lnTo>
                      <a:pt x="643796" y="120581"/>
                    </a:lnTo>
                    <a:lnTo>
                      <a:pt x="631782" y="120128"/>
                    </a:lnTo>
                    <a:lnTo>
                      <a:pt x="619540" y="120128"/>
                    </a:lnTo>
                    <a:lnTo>
                      <a:pt x="607752" y="120128"/>
                    </a:lnTo>
                    <a:close/>
                    <a:moveTo>
                      <a:pt x="619540" y="0"/>
                    </a:moveTo>
                    <a:lnTo>
                      <a:pt x="634502" y="227"/>
                    </a:lnTo>
                    <a:lnTo>
                      <a:pt x="649690" y="907"/>
                    </a:lnTo>
                    <a:lnTo>
                      <a:pt x="664198" y="1587"/>
                    </a:lnTo>
                    <a:lnTo>
                      <a:pt x="678933" y="3173"/>
                    </a:lnTo>
                    <a:lnTo>
                      <a:pt x="694121" y="4533"/>
                    </a:lnTo>
                    <a:lnTo>
                      <a:pt x="708629" y="6573"/>
                    </a:lnTo>
                    <a:lnTo>
                      <a:pt x="723364" y="8840"/>
                    </a:lnTo>
                    <a:lnTo>
                      <a:pt x="738098" y="11560"/>
                    </a:lnTo>
                    <a:lnTo>
                      <a:pt x="752607" y="14506"/>
                    </a:lnTo>
                    <a:lnTo>
                      <a:pt x="767115" y="17906"/>
                    </a:lnTo>
                    <a:lnTo>
                      <a:pt x="781623" y="21533"/>
                    </a:lnTo>
                    <a:lnTo>
                      <a:pt x="796131" y="25839"/>
                    </a:lnTo>
                    <a:lnTo>
                      <a:pt x="810412" y="30146"/>
                    </a:lnTo>
                    <a:lnTo>
                      <a:pt x="824694" y="34905"/>
                    </a:lnTo>
                    <a:lnTo>
                      <a:pt x="838975" y="40118"/>
                    </a:lnTo>
                    <a:lnTo>
                      <a:pt x="853030" y="45558"/>
                    </a:lnTo>
                    <a:lnTo>
                      <a:pt x="866858" y="51451"/>
                    </a:lnTo>
                    <a:lnTo>
                      <a:pt x="880686" y="57571"/>
                    </a:lnTo>
                    <a:lnTo>
                      <a:pt x="894514" y="64144"/>
                    </a:lnTo>
                    <a:lnTo>
                      <a:pt x="907888" y="71170"/>
                    </a:lnTo>
                    <a:lnTo>
                      <a:pt x="921263" y="78423"/>
                    </a:lnTo>
                    <a:lnTo>
                      <a:pt x="934638" y="85903"/>
                    </a:lnTo>
                    <a:lnTo>
                      <a:pt x="947786" y="93836"/>
                    </a:lnTo>
                    <a:lnTo>
                      <a:pt x="960934" y="102222"/>
                    </a:lnTo>
                    <a:lnTo>
                      <a:pt x="973401" y="110835"/>
                    </a:lnTo>
                    <a:lnTo>
                      <a:pt x="986096" y="119901"/>
                    </a:lnTo>
                    <a:lnTo>
                      <a:pt x="998791" y="129421"/>
                    </a:lnTo>
                    <a:lnTo>
                      <a:pt x="1010805" y="139167"/>
                    </a:lnTo>
                    <a:lnTo>
                      <a:pt x="1023046" y="149140"/>
                    </a:lnTo>
                    <a:lnTo>
                      <a:pt x="1034607" y="159793"/>
                    </a:lnTo>
                    <a:lnTo>
                      <a:pt x="1046395" y="170446"/>
                    </a:lnTo>
                    <a:lnTo>
                      <a:pt x="1057956" y="181779"/>
                    </a:lnTo>
                    <a:lnTo>
                      <a:pt x="1067251" y="191072"/>
                    </a:lnTo>
                    <a:lnTo>
                      <a:pt x="1076318" y="200591"/>
                    </a:lnTo>
                    <a:lnTo>
                      <a:pt x="1084932" y="210564"/>
                    </a:lnTo>
                    <a:lnTo>
                      <a:pt x="1093546" y="220310"/>
                    </a:lnTo>
                    <a:lnTo>
                      <a:pt x="1101934" y="230283"/>
                    </a:lnTo>
                    <a:lnTo>
                      <a:pt x="1110095" y="240709"/>
                    </a:lnTo>
                    <a:lnTo>
                      <a:pt x="1117802" y="250909"/>
                    </a:lnTo>
                    <a:lnTo>
                      <a:pt x="1125510" y="261108"/>
                    </a:lnTo>
                    <a:lnTo>
                      <a:pt x="1132764" y="271988"/>
                    </a:lnTo>
                    <a:lnTo>
                      <a:pt x="1139791" y="282414"/>
                    </a:lnTo>
                    <a:lnTo>
                      <a:pt x="1146592" y="293294"/>
                    </a:lnTo>
                    <a:lnTo>
                      <a:pt x="1153166" y="304173"/>
                    </a:lnTo>
                    <a:lnTo>
                      <a:pt x="1159513" y="315279"/>
                    </a:lnTo>
                    <a:lnTo>
                      <a:pt x="1165634" y="326159"/>
                    </a:lnTo>
                    <a:lnTo>
                      <a:pt x="1171527" y="337492"/>
                    </a:lnTo>
                    <a:lnTo>
                      <a:pt x="1177195" y="348598"/>
                    </a:lnTo>
                    <a:lnTo>
                      <a:pt x="1182408" y="360157"/>
                    </a:lnTo>
                    <a:lnTo>
                      <a:pt x="1187622" y="371490"/>
                    </a:lnTo>
                    <a:lnTo>
                      <a:pt x="1192610" y="383050"/>
                    </a:lnTo>
                    <a:lnTo>
                      <a:pt x="1197143" y="394609"/>
                    </a:lnTo>
                    <a:lnTo>
                      <a:pt x="1201677" y="406395"/>
                    </a:lnTo>
                    <a:lnTo>
                      <a:pt x="1205984" y="418181"/>
                    </a:lnTo>
                    <a:lnTo>
                      <a:pt x="1209611" y="429741"/>
                    </a:lnTo>
                    <a:lnTo>
                      <a:pt x="1213465" y="441754"/>
                    </a:lnTo>
                    <a:lnTo>
                      <a:pt x="1216865" y="453540"/>
                    </a:lnTo>
                    <a:lnTo>
                      <a:pt x="1219812" y="465552"/>
                    </a:lnTo>
                    <a:lnTo>
                      <a:pt x="1222986" y="477792"/>
                    </a:lnTo>
                    <a:lnTo>
                      <a:pt x="1225706" y="489578"/>
                    </a:lnTo>
                    <a:lnTo>
                      <a:pt x="1228200" y="501818"/>
                    </a:lnTo>
                    <a:lnTo>
                      <a:pt x="1230240" y="514057"/>
                    </a:lnTo>
                    <a:lnTo>
                      <a:pt x="1232280" y="526070"/>
                    </a:lnTo>
                    <a:lnTo>
                      <a:pt x="1233867" y="538536"/>
                    </a:lnTo>
                    <a:lnTo>
                      <a:pt x="1235680" y="550775"/>
                    </a:lnTo>
                    <a:lnTo>
                      <a:pt x="1236814" y="563015"/>
                    </a:lnTo>
                    <a:lnTo>
                      <a:pt x="1237720" y="575254"/>
                    </a:lnTo>
                    <a:lnTo>
                      <a:pt x="1238401" y="587720"/>
                    </a:lnTo>
                    <a:lnTo>
                      <a:pt x="1239081" y="599733"/>
                    </a:lnTo>
                    <a:lnTo>
                      <a:pt x="1239307" y="612199"/>
                    </a:lnTo>
                    <a:lnTo>
                      <a:pt x="1239307" y="624665"/>
                    </a:lnTo>
                    <a:lnTo>
                      <a:pt x="1239081" y="636678"/>
                    </a:lnTo>
                    <a:lnTo>
                      <a:pt x="1238627" y="649144"/>
                    </a:lnTo>
                    <a:lnTo>
                      <a:pt x="1237947" y="661610"/>
                    </a:lnTo>
                    <a:lnTo>
                      <a:pt x="1237040" y="673623"/>
                    </a:lnTo>
                    <a:lnTo>
                      <a:pt x="1235907" y="686089"/>
                    </a:lnTo>
                    <a:lnTo>
                      <a:pt x="1234320" y="698102"/>
                    </a:lnTo>
                    <a:lnTo>
                      <a:pt x="1232507" y="710341"/>
                    </a:lnTo>
                    <a:lnTo>
                      <a:pt x="1230693" y="722807"/>
                    </a:lnTo>
                    <a:lnTo>
                      <a:pt x="1228653" y="734820"/>
                    </a:lnTo>
                    <a:lnTo>
                      <a:pt x="1226159" y="746833"/>
                    </a:lnTo>
                    <a:lnTo>
                      <a:pt x="1223439" y="759073"/>
                    </a:lnTo>
                    <a:lnTo>
                      <a:pt x="1220719" y="771085"/>
                    </a:lnTo>
                    <a:lnTo>
                      <a:pt x="1217545" y="783098"/>
                    </a:lnTo>
                    <a:lnTo>
                      <a:pt x="1214145" y="795111"/>
                    </a:lnTo>
                    <a:lnTo>
                      <a:pt x="1210518" y="806897"/>
                    </a:lnTo>
                    <a:lnTo>
                      <a:pt x="1206664" y="818683"/>
                    </a:lnTo>
                    <a:lnTo>
                      <a:pt x="1202357" y="830469"/>
                    </a:lnTo>
                    <a:lnTo>
                      <a:pt x="1198277" y="842255"/>
                    </a:lnTo>
                    <a:lnTo>
                      <a:pt x="1193516" y="853588"/>
                    </a:lnTo>
                    <a:lnTo>
                      <a:pt x="1188529" y="865374"/>
                    </a:lnTo>
                    <a:lnTo>
                      <a:pt x="1183769" y="876934"/>
                    </a:lnTo>
                    <a:lnTo>
                      <a:pt x="1178328" y="888267"/>
                    </a:lnTo>
                    <a:lnTo>
                      <a:pt x="1172661" y="899599"/>
                    </a:lnTo>
                    <a:lnTo>
                      <a:pt x="1166767" y="910706"/>
                    </a:lnTo>
                    <a:lnTo>
                      <a:pt x="1160646" y="921812"/>
                    </a:lnTo>
                    <a:lnTo>
                      <a:pt x="1534229" y="1295115"/>
                    </a:lnTo>
                    <a:lnTo>
                      <a:pt x="1540350" y="1301461"/>
                    </a:lnTo>
                    <a:lnTo>
                      <a:pt x="1545790" y="1308034"/>
                    </a:lnTo>
                    <a:lnTo>
                      <a:pt x="1551231" y="1314607"/>
                    </a:lnTo>
                    <a:lnTo>
                      <a:pt x="1556445" y="1321407"/>
                    </a:lnTo>
                    <a:lnTo>
                      <a:pt x="1560752" y="1328433"/>
                    </a:lnTo>
                    <a:lnTo>
                      <a:pt x="1565286" y="1335460"/>
                    </a:lnTo>
                    <a:lnTo>
                      <a:pt x="1569366" y="1342713"/>
                    </a:lnTo>
                    <a:lnTo>
                      <a:pt x="1572766" y="1349966"/>
                    </a:lnTo>
                    <a:lnTo>
                      <a:pt x="1576167" y="1357219"/>
                    </a:lnTo>
                    <a:lnTo>
                      <a:pt x="1578887" y="1364698"/>
                    </a:lnTo>
                    <a:lnTo>
                      <a:pt x="1581381" y="1372178"/>
                    </a:lnTo>
                    <a:lnTo>
                      <a:pt x="1583648" y="1379658"/>
                    </a:lnTo>
                    <a:lnTo>
                      <a:pt x="1585461" y="1387137"/>
                    </a:lnTo>
                    <a:lnTo>
                      <a:pt x="1586821" y="1394617"/>
                    </a:lnTo>
                    <a:lnTo>
                      <a:pt x="1587955" y="1402323"/>
                    </a:lnTo>
                    <a:lnTo>
                      <a:pt x="1588635" y="1409803"/>
                    </a:lnTo>
                    <a:lnTo>
                      <a:pt x="1589088" y="1417283"/>
                    </a:lnTo>
                    <a:lnTo>
                      <a:pt x="1589088" y="1424762"/>
                    </a:lnTo>
                    <a:lnTo>
                      <a:pt x="1588861" y="1432242"/>
                    </a:lnTo>
                    <a:lnTo>
                      <a:pt x="1588181" y="1439495"/>
                    </a:lnTo>
                    <a:lnTo>
                      <a:pt x="1587274" y="1446748"/>
                    </a:lnTo>
                    <a:lnTo>
                      <a:pt x="1585914" y="1454001"/>
                    </a:lnTo>
                    <a:lnTo>
                      <a:pt x="1584101" y="1461027"/>
                    </a:lnTo>
                    <a:lnTo>
                      <a:pt x="1581834" y="1467827"/>
                    </a:lnTo>
                    <a:lnTo>
                      <a:pt x="1579340" y="1474627"/>
                    </a:lnTo>
                    <a:lnTo>
                      <a:pt x="1576620" y="1481200"/>
                    </a:lnTo>
                    <a:lnTo>
                      <a:pt x="1573220" y="1487773"/>
                    </a:lnTo>
                    <a:lnTo>
                      <a:pt x="1569593" y="1494119"/>
                    </a:lnTo>
                    <a:lnTo>
                      <a:pt x="1565512" y="1500239"/>
                    </a:lnTo>
                    <a:lnTo>
                      <a:pt x="1561432" y="1506132"/>
                    </a:lnTo>
                    <a:lnTo>
                      <a:pt x="1556445" y="1511572"/>
                    </a:lnTo>
                    <a:lnTo>
                      <a:pt x="1551231" y="1517011"/>
                    </a:lnTo>
                    <a:lnTo>
                      <a:pt x="1517228" y="1551237"/>
                    </a:lnTo>
                    <a:lnTo>
                      <a:pt x="1511787" y="1556223"/>
                    </a:lnTo>
                    <a:lnTo>
                      <a:pt x="1506120" y="1561209"/>
                    </a:lnTo>
                    <a:lnTo>
                      <a:pt x="1500226" y="1565516"/>
                    </a:lnTo>
                    <a:lnTo>
                      <a:pt x="1494106" y="1569369"/>
                    </a:lnTo>
                    <a:lnTo>
                      <a:pt x="1487985" y="1573222"/>
                    </a:lnTo>
                    <a:lnTo>
                      <a:pt x="1481411" y="1576395"/>
                    </a:lnTo>
                    <a:lnTo>
                      <a:pt x="1474837" y="1579342"/>
                    </a:lnTo>
                    <a:lnTo>
                      <a:pt x="1468036" y="1581835"/>
                    </a:lnTo>
                    <a:lnTo>
                      <a:pt x="1461009" y="1583875"/>
                    </a:lnTo>
                    <a:lnTo>
                      <a:pt x="1453982" y="1585688"/>
                    </a:lnTo>
                    <a:lnTo>
                      <a:pt x="1446728" y="1587275"/>
                    </a:lnTo>
                    <a:lnTo>
                      <a:pt x="1439474" y="1588182"/>
                    </a:lnTo>
                    <a:lnTo>
                      <a:pt x="1432219" y="1588862"/>
                    </a:lnTo>
                    <a:lnTo>
                      <a:pt x="1424739" y="1589088"/>
                    </a:lnTo>
                    <a:lnTo>
                      <a:pt x="1417258" y="1589088"/>
                    </a:lnTo>
                    <a:lnTo>
                      <a:pt x="1409777" y="1588862"/>
                    </a:lnTo>
                    <a:lnTo>
                      <a:pt x="1402296" y="1587955"/>
                    </a:lnTo>
                    <a:lnTo>
                      <a:pt x="1394589" y="1587048"/>
                    </a:lnTo>
                    <a:lnTo>
                      <a:pt x="1387108" y="1585235"/>
                    </a:lnTo>
                    <a:lnTo>
                      <a:pt x="1379628" y="1583422"/>
                    </a:lnTo>
                    <a:lnTo>
                      <a:pt x="1372147" y="1581382"/>
                    </a:lnTo>
                    <a:lnTo>
                      <a:pt x="1364666" y="1578662"/>
                    </a:lnTo>
                    <a:lnTo>
                      <a:pt x="1357186" y="1575942"/>
                    </a:lnTo>
                    <a:lnTo>
                      <a:pt x="1349931" y="1572769"/>
                    </a:lnTo>
                    <a:lnTo>
                      <a:pt x="1342677" y="1569142"/>
                    </a:lnTo>
                    <a:lnTo>
                      <a:pt x="1335423" y="1565289"/>
                    </a:lnTo>
                    <a:lnTo>
                      <a:pt x="1328396" y="1560756"/>
                    </a:lnTo>
                    <a:lnTo>
                      <a:pt x="1321369" y="1556223"/>
                    </a:lnTo>
                    <a:lnTo>
                      <a:pt x="1314568" y="1551237"/>
                    </a:lnTo>
                    <a:lnTo>
                      <a:pt x="1307994" y="1545797"/>
                    </a:lnTo>
                    <a:lnTo>
                      <a:pt x="1301420" y="1540130"/>
                    </a:lnTo>
                    <a:lnTo>
                      <a:pt x="1295299" y="1534011"/>
                    </a:lnTo>
                    <a:lnTo>
                      <a:pt x="921716" y="1160708"/>
                    </a:lnTo>
                    <a:lnTo>
                      <a:pt x="910835" y="1166827"/>
                    </a:lnTo>
                    <a:lnTo>
                      <a:pt x="899501" y="1172720"/>
                    </a:lnTo>
                    <a:lnTo>
                      <a:pt x="888166" y="1178160"/>
                    </a:lnTo>
                    <a:lnTo>
                      <a:pt x="876832" y="1183600"/>
                    </a:lnTo>
                    <a:lnTo>
                      <a:pt x="865498" y="1188586"/>
                    </a:lnTo>
                    <a:lnTo>
                      <a:pt x="853710" y="1193346"/>
                    </a:lnTo>
                    <a:lnTo>
                      <a:pt x="842375" y="1198106"/>
                    </a:lnTo>
                    <a:lnTo>
                      <a:pt x="830588" y="1202412"/>
                    </a:lnTo>
                    <a:lnTo>
                      <a:pt x="818573" y="1206492"/>
                    </a:lnTo>
                    <a:lnTo>
                      <a:pt x="807012" y="1210572"/>
                    </a:lnTo>
                    <a:lnTo>
                      <a:pt x="794997" y="1213972"/>
                    </a:lnTo>
                    <a:lnTo>
                      <a:pt x="783210" y="1217598"/>
                    </a:lnTo>
                    <a:lnTo>
                      <a:pt x="771195" y="1220545"/>
                    </a:lnTo>
                    <a:lnTo>
                      <a:pt x="758954" y="1223265"/>
                    </a:lnTo>
                    <a:lnTo>
                      <a:pt x="746939" y="1226211"/>
                    </a:lnTo>
                    <a:lnTo>
                      <a:pt x="734698" y="1228478"/>
                    </a:lnTo>
                    <a:lnTo>
                      <a:pt x="722457" y="1230518"/>
                    </a:lnTo>
                    <a:lnTo>
                      <a:pt x="710442" y="1232784"/>
                    </a:lnTo>
                    <a:lnTo>
                      <a:pt x="698201" y="1234371"/>
                    </a:lnTo>
                    <a:lnTo>
                      <a:pt x="685960" y="1235731"/>
                    </a:lnTo>
                    <a:lnTo>
                      <a:pt x="673719" y="1236864"/>
                    </a:lnTo>
                    <a:lnTo>
                      <a:pt x="661478" y="1237771"/>
                    </a:lnTo>
                    <a:lnTo>
                      <a:pt x="649010" y="1238451"/>
                    </a:lnTo>
                    <a:lnTo>
                      <a:pt x="636769" y="1239131"/>
                    </a:lnTo>
                    <a:lnTo>
                      <a:pt x="624527" y="1239357"/>
                    </a:lnTo>
                    <a:lnTo>
                      <a:pt x="612060" y="1239357"/>
                    </a:lnTo>
                    <a:lnTo>
                      <a:pt x="599818" y="1239131"/>
                    </a:lnTo>
                    <a:lnTo>
                      <a:pt x="587577" y="1238451"/>
                    </a:lnTo>
                    <a:lnTo>
                      <a:pt x="575109" y="1237544"/>
                    </a:lnTo>
                    <a:lnTo>
                      <a:pt x="562868" y="1236638"/>
                    </a:lnTo>
                    <a:lnTo>
                      <a:pt x="550627" y="1235504"/>
                    </a:lnTo>
                    <a:lnTo>
                      <a:pt x="538612" y="1233918"/>
                    </a:lnTo>
                    <a:lnTo>
                      <a:pt x="526145" y="1232331"/>
                    </a:lnTo>
                    <a:lnTo>
                      <a:pt x="513903" y="1230291"/>
                    </a:lnTo>
                    <a:lnTo>
                      <a:pt x="501889" y="1228025"/>
                    </a:lnTo>
                    <a:lnTo>
                      <a:pt x="489648" y="1225758"/>
                    </a:lnTo>
                    <a:lnTo>
                      <a:pt x="477633" y="1222811"/>
                    </a:lnTo>
                    <a:lnTo>
                      <a:pt x="465619" y="1219865"/>
                    </a:lnTo>
                    <a:lnTo>
                      <a:pt x="453604" y="1216918"/>
                    </a:lnTo>
                    <a:lnTo>
                      <a:pt x="441590" y="1213292"/>
                    </a:lnTo>
                    <a:lnTo>
                      <a:pt x="429802" y="1209665"/>
                    </a:lnTo>
                    <a:lnTo>
                      <a:pt x="418014" y="1205812"/>
                    </a:lnTo>
                    <a:lnTo>
                      <a:pt x="406453" y="1201506"/>
                    </a:lnTo>
                    <a:lnTo>
                      <a:pt x="394665" y="1197199"/>
                    </a:lnTo>
                    <a:lnTo>
                      <a:pt x="383104" y="1192440"/>
                    </a:lnTo>
                    <a:lnTo>
                      <a:pt x="371543" y="1187680"/>
                    </a:lnTo>
                    <a:lnTo>
                      <a:pt x="359982" y="1182467"/>
                    </a:lnTo>
                    <a:lnTo>
                      <a:pt x="348647" y="1177027"/>
                    </a:lnTo>
                    <a:lnTo>
                      <a:pt x="337313" y="1171360"/>
                    </a:lnTo>
                    <a:lnTo>
                      <a:pt x="326205" y="1165694"/>
                    </a:lnTo>
                    <a:lnTo>
                      <a:pt x="315097" y="1159574"/>
                    </a:lnTo>
                    <a:lnTo>
                      <a:pt x="304216" y="1153228"/>
                    </a:lnTo>
                    <a:lnTo>
                      <a:pt x="293109" y="1146655"/>
                    </a:lnTo>
                    <a:lnTo>
                      <a:pt x="282454" y="1139629"/>
                    </a:lnTo>
                    <a:lnTo>
                      <a:pt x="272026" y="1132602"/>
                    </a:lnTo>
                    <a:lnTo>
                      <a:pt x="261145" y="1125349"/>
                    </a:lnTo>
                    <a:lnTo>
                      <a:pt x="250944" y="1117643"/>
                    </a:lnTo>
                    <a:lnTo>
                      <a:pt x="240517" y="1109937"/>
                    </a:lnTo>
                    <a:lnTo>
                      <a:pt x="230316" y="1101777"/>
                    </a:lnTo>
                    <a:lnTo>
                      <a:pt x="220341" y="1093617"/>
                    </a:lnTo>
                    <a:lnTo>
                      <a:pt x="210367" y="1085004"/>
                    </a:lnTo>
                    <a:lnTo>
                      <a:pt x="200620" y="1076391"/>
                    </a:lnTo>
                    <a:lnTo>
                      <a:pt x="191099" y="1067099"/>
                    </a:lnTo>
                    <a:lnTo>
                      <a:pt x="181578" y="1057806"/>
                    </a:lnTo>
                    <a:lnTo>
                      <a:pt x="170470" y="1046473"/>
                    </a:lnTo>
                    <a:lnTo>
                      <a:pt x="159589" y="1034913"/>
                    </a:lnTo>
                    <a:lnTo>
                      <a:pt x="149161" y="1022901"/>
                    </a:lnTo>
                    <a:lnTo>
                      <a:pt x="139187" y="1010888"/>
                    </a:lnTo>
                    <a:lnTo>
                      <a:pt x="129213" y="998648"/>
                    </a:lnTo>
                    <a:lnTo>
                      <a:pt x="119918" y="985956"/>
                    </a:lnTo>
                    <a:lnTo>
                      <a:pt x="110851" y="973489"/>
                    </a:lnTo>
                    <a:lnTo>
                      <a:pt x="102237" y="960797"/>
                    </a:lnTo>
                    <a:lnTo>
                      <a:pt x="93849" y="947651"/>
                    </a:lnTo>
                    <a:lnTo>
                      <a:pt x="85688" y="934505"/>
                    </a:lnTo>
                    <a:lnTo>
                      <a:pt x="78208" y="921358"/>
                    </a:lnTo>
                    <a:lnTo>
                      <a:pt x="70954" y="907986"/>
                    </a:lnTo>
                    <a:lnTo>
                      <a:pt x="64153" y="894386"/>
                    </a:lnTo>
                    <a:lnTo>
                      <a:pt x="57579" y="880560"/>
                    </a:lnTo>
                    <a:lnTo>
                      <a:pt x="51232" y="866734"/>
                    </a:lnTo>
                    <a:lnTo>
                      <a:pt x="45338" y="852908"/>
                    </a:lnTo>
                    <a:lnTo>
                      <a:pt x="39897" y="838856"/>
                    </a:lnTo>
                    <a:lnTo>
                      <a:pt x="34910" y="824803"/>
                    </a:lnTo>
                    <a:lnTo>
                      <a:pt x="30150" y="810524"/>
                    </a:lnTo>
                    <a:lnTo>
                      <a:pt x="25616" y="796244"/>
                    </a:lnTo>
                    <a:lnTo>
                      <a:pt x="21535" y="781738"/>
                    </a:lnTo>
                    <a:lnTo>
                      <a:pt x="17682" y="767232"/>
                    </a:lnTo>
                    <a:lnTo>
                      <a:pt x="14508" y="752726"/>
                    </a:lnTo>
                    <a:lnTo>
                      <a:pt x="11334" y="738220"/>
                    </a:lnTo>
                    <a:lnTo>
                      <a:pt x="8841" y="723487"/>
                    </a:lnTo>
                    <a:lnTo>
                      <a:pt x="6574" y="708755"/>
                    </a:lnTo>
                    <a:lnTo>
                      <a:pt x="4307" y="694022"/>
                    </a:lnTo>
                    <a:lnTo>
                      <a:pt x="2947" y="679289"/>
                    </a:lnTo>
                    <a:lnTo>
                      <a:pt x="1587" y="664330"/>
                    </a:lnTo>
                    <a:lnTo>
                      <a:pt x="680" y="649597"/>
                    </a:lnTo>
                    <a:lnTo>
                      <a:pt x="227" y="634638"/>
                    </a:lnTo>
                    <a:lnTo>
                      <a:pt x="0" y="619905"/>
                    </a:lnTo>
                    <a:lnTo>
                      <a:pt x="227" y="604946"/>
                    </a:lnTo>
                    <a:lnTo>
                      <a:pt x="680" y="589987"/>
                    </a:lnTo>
                    <a:lnTo>
                      <a:pt x="1587" y="575254"/>
                    </a:lnTo>
                    <a:lnTo>
                      <a:pt x="2947" y="560295"/>
                    </a:lnTo>
                    <a:lnTo>
                      <a:pt x="4307" y="545562"/>
                    </a:lnTo>
                    <a:lnTo>
                      <a:pt x="6574" y="530830"/>
                    </a:lnTo>
                    <a:lnTo>
                      <a:pt x="8841" y="516097"/>
                    </a:lnTo>
                    <a:lnTo>
                      <a:pt x="11334" y="501364"/>
                    </a:lnTo>
                    <a:lnTo>
                      <a:pt x="14508" y="486858"/>
                    </a:lnTo>
                    <a:lnTo>
                      <a:pt x="17682" y="472352"/>
                    </a:lnTo>
                    <a:lnTo>
                      <a:pt x="21535" y="457846"/>
                    </a:lnTo>
                    <a:lnTo>
                      <a:pt x="25616" y="443340"/>
                    </a:lnTo>
                    <a:lnTo>
                      <a:pt x="30150" y="429061"/>
                    </a:lnTo>
                    <a:lnTo>
                      <a:pt x="34910" y="414781"/>
                    </a:lnTo>
                    <a:lnTo>
                      <a:pt x="39897" y="400502"/>
                    </a:lnTo>
                    <a:lnTo>
                      <a:pt x="45338" y="386449"/>
                    </a:lnTo>
                    <a:lnTo>
                      <a:pt x="51232" y="372850"/>
                    </a:lnTo>
                    <a:lnTo>
                      <a:pt x="57579" y="359024"/>
                    </a:lnTo>
                    <a:lnTo>
                      <a:pt x="64153" y="345198"/>
                    </a:lnTo>
                    <a:lnTo>
                      <a:pt x="70954" y="331599"/>
                    </a:lnTo>
                    <a:lnTo>
                      <a:pt x="78208" y="318226"/>
                    </a:lnTo>
                    <a:lnTo>
                      <a:pt x="85688" y="304853"/>
                    </a:lnTo>
                    <a:lnTo>
                      <a:pt x="93849" y="291934"/>
                    </a:lnTo>
                    <a:lnTo>
                      <a:pt x="102237" y="278788"/>
                    </a:lnTo>
                    <a:lnTo>
                      <a:pt x="110851" y="266095"/>
                    </a:lnTo>
                    <a:lnTo>
                      <a:pt x="119918" y="253402"/>
                    </a:lnTo>
                    <a:lnTo>
                      <a:pt x="129213" y="240936"/>
                    </a:lnTo>
                    <a:lnTo>
                      <a:pt x="139187" y="228697"/>
                    </a:lnTo>
                    <a:lnTo>
                      <a:pt x="149161" y="216457"/>
                    </a:lnTo>
                    <a:lnTo>
                      <a:pt x="159589" y="204671"/>
                    </a:lnTo>
                    <a:lnTo>
                      <a:pt x="170470" y="193111"/>
                    </a:lnTo>
                    <a:lnTo>
                      <a:pt x="181578" y="181779"/>
                    </a:lnTo>
                    <a:lnTo>
                      <a:pt x="193139" y="170446"/>
                    </a:lnTo>
                    <a:lnTo>
                      <a:pt x="204473" y="159793"/>
                    </a:lnTo>
                    <a:lnTo>
                      <a:pt x="216488" y="149140"/>
                    </a:lnTo>
                    <a:lnTo>
                      <a:pt x="228729" y="139167"/>
                    </a:lnTo>
                    <a:lnTo>
                      <a:pt x="240743" y="129421"/>
                    </a:lnTo>
                    <a:lnTo>
                      <a:pt x="253438" y="119901"/>
                    </a:lnTo>
                    <a:lnTo>
                      <a:pt x="266133" y="110835"/>
                    </a:lnTo>
                    <a:lnTo>
                      <a:pt x="278600" y="102222"/>
                    </a:lnTo>
                    <a:lnTo>
                      <a:pt x="291748" y="93836"/>
                    </a:lnTo>
                    <a:lnTo>
                      <a:pt x="304896" y="85903"/>
                    </a:lnTo>
                    <a:lnTo>
                      <a:pt x="318271" y="78423"/>
                    </a:lnTo>
                    <a:lnTo>
                      <a:pt x="331646" y="71170"/>
                    </a:lnTo>
                    <a:lnTo>
                      <a:pt x="345020" y="64144"/>
                    </a:lnTo>
                    <a:lnTo>
                      <a:pt x="358848" y="57571"/>
                    </a:lnTo>
                    <a:lnTo>
                      <a:pt x="372676" y="51451"/>
                    </a:lnTo>
                    <a:lnTo>
                      <a:pt x="386504" y="45558"/>
                    </a:lnTo>
                    <a:lnTo>
                      <a:pt x="400559" y="40118"/>
                    </a:lnTo>
                    <a:lnTo>
                      <a:pt x="414840" y="34905"/>
                    </a:lnTo>
                    <a:lnTo>
                      <a:pt x="429122" y="30146"/>
                    </a:lnTo>
                    <a:lnTo>
                      <a:pt x="443403" y="25839"/>
                    </a:lnTo>
                    <a:lnTo>
                      <a:pt x="457911" y="21533"/>
                    </a:lnTo>
                    <a:lnTo>
                      <a:pt x="472419" y="17906"/>
                    </a:lnTo>
                    <a:lnTo>
                      <a:pt x="486927" y="14506"/>
                    </a:lnTo>
                    <a:lnTo>
                      <a:pt x="501435" y="11560"/>
                    </a:lnTo>
                    <a:lnTo>
                      <a:pt x="515944" y="8840"/>
                    </a:lnTo>
                    <a:lnTo>
                      <a:pt x="530678" y="6573"/>
                    </a:lnTo>
                    <a:lnTo>
                      <a:pt x="545413" y="4533"/>
                    </a:lnTo>
                    <a:lnTo>
                      <a:pt x="560148" y="3173"/>
                    </a:lnTo>
                    <a:lnTo>
                      <a:pt x="575109" y="1587"/>
                    </a:lnTo>
                    <a:lnTo>
                      <a:pt x="589844" y="907"/>
                    </a:lnTo>
                    <a:lnTo>
                      <a:pt x="604806" y="227"/>
                    </a:lnTo>
                    <a:lnTo>
                      <a:pt x="619540" y="0"/>
                    </a:lnTo>
                    <a:close/>
                  </a:path>
                </a:pathLst>
              </a:custGeom>
              <a:solidFill>
                <a:srgbClr val="FFFFFF"/>
              </a:solidFill>
              <a:ln>
                <a:noFill/>
              </a:ln>
            </p:spPr>
            <p:txBody>
              <a:bodyPr wrap="square" lIns="91440" tIns="45720" rIns="91440" bIns="45720" anchor="ctr">
                <a:normAutofit lnSpcReduction="10000"/>
                <a:scene3d>
                  <a:camera prst="orthographicFront"/>
                  <a:lightRig rig="threePt" dir="t"/>
                </a:scene3d>
                <a:sp3d>
                  <a:contourClr>
                    <a:srgbClr val="FFFFFF"/>
                  </a:contourClr>
                </a:sp3d>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sp>
            <p:nvSpPr>
              <p:cNvPr id="24" name="Bullet1"/>
              <p:cNvSpPr txBox="1"/>
              <p:nvPr>
                <p:custDataLst>
                  <p:tags r:id="rId12"/>
                </p:custDataLst>
              </p:nvPr>
            </p:nvSpPr>
            <p:spPr bwMode="auto">
              <a:xfrm>
                <a:off x="672532" y="4364339"/>
                <a:ext cx="2542477" cy="52118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1">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spcBef>
                    <a:spcPct val="0"/>
                  </a:spcBef>
                  <a:spcAft>
                    <a:spcPts val="0"/>
                  </a:spcAft>
                  <a:buClrTx/>
                  <a:buSzTx/>
                  <a:buFontTx/>
                  <a:buNone/>
                  <a:defRPr/>
                </a:pPr>
                <a:r>
                  <a:rPr kumimoji="0" lang="zh-CN" altLang="en-US" b="1" i="0" u="none" strike="noStrike" kern="1200" cap="none" spc="0" normalizeH="0" baseline="0" noProof="0" dirty="0">
                    <a:ln>
                      <a:noFill/>
                    </a:ln>
                    <a:effectLst/>
                    <a:uLnTx/>
                    <a:uFillTx/>
                  </a:rPr>
                  <a:t>单击此处添加标题</a:t>
                </a:r>
                <a:endParaRPr kumimoji="0" lang="en-US" altLang="zh-CN" b="1" i="0" u="none" strike="noStrike" kern="1200" cap="none" spc="0" normalizeH="0" baseline="0" noProof="0" dirty="0">
                  <a:ln>
                    <a:noFill/>
                  </a:ln>
                  <a:effectLst/>
                  <a:uLnTx/>
                  <a:uFillTx/>
                </a:endParaRPr>
              </a:p>
            </p:txBody>
          </p:sp>
          <p:sp>
            <p:nvSpPr>
              <p:cNvPr id="25" name="Text1"/>
              <p:cNvSpPr/>
              <p:nvPr>
                <p:custDataLst>
                  <p:tags r:id="rId13"/>
                </p:custDataLst>
              </p:nvPr>
            </p:nvSpPr>
            <p:spPr bwMode="auto">
              <a:xfrm>
                <a:off x="672532" y="4885525"/>
                <a:ext cx="2542477" cy="99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lnSpc>
                    <a:spcPct val="120000"/>
                  </a:lnSpc>
                  <a:spcBef>
                    <a:spcPts val="0"/>
                  </a:spcBef>
                  <a:spcAft>
                    <a:spcPts val="0"/>
                  </a:spcAft>
                  <a:buClrTx/>
                  <a:buSzTx/>
                  <a:buFontTx/>
                  <a:buNone/>
                  <a:defRPr/>
                </a:pPr>
                <a:r>
                  <a:rPr kumimoji="0" sz="1200" i="0" u="none" strike="noStrike" kern="1200" cap="none" spc="0" normalizeH="0" baseline="0" noProof="0">
                    <a:ln>
                      <a:noFill/>
                    </a:ln>
                    <a:effectLst/>
                    <a:uLnTx/>
                    <a:uFillTx/>
                  </a:rPr>
                  <a:t>请输入文本内容请输入文本内容</a:t>
                </a:r>
                <a:endParaRPr kumimoji="0" sz="1200" i="0" u="none" strike="noStrike" kern="1200" cap="none" spc="0" normalizeH="0" baseline="0" noProof="0">
                  <a:ln>
                    <a:noFill/>
                  </a:ln>
                  <a:effectLst/>
                  <a:uLnTx/>
                  <a:uFillTx/>
                </a:endParaRPr>
              </a:p>
            </p:txBody>
          </p:sp>
        </p:grpSp>
        <p:grpSp>
          <p:nvGrpSpPr>
            <p:cNvPr id="6" name="组合 5"/>
            <p:cNvGrpSpPr/>
            <p:nvPr/>
          </p:nvGrpSpPr>
          <p:grpSpPr>
            <a:xfrm>
              <a:off x="3441403" y="2716117"/>
              <a:ext cx="2542477" cy="3163983"/>
              <a:chOff x="3441403" y="2716117"/>
              <a:chExt cx="2542477" cy="3163983"/>
            </a:xfrm>
          </p:grpSpPr>
          <p:sp>
            <p:nvSpPr>
              <p:cNvPr id="18" name="IconBackground2"/>
              <p:cNvSpPr/>
              <p:nvPr>
                <p:custDataLst>
                  <p:tags r:id="rId14"/>
                </p:custDataLst>
              </p:nvPr>
            </p:nvSpPr>
            <p:spPr>
              <a:xfrm flipH="1">
                <a:off x="4296115" y="2716117"/>
                <a:ext cx="833053" cy="833053"/>
              </a:xfrm>
              <a:prstGeom prst="ellipse">
                <a:avLst/>
              </a:prstGeom>
              <a:solidFill>
                <a:schemeClr val="accent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sp>
            <p:nvSpPr>
              <p:cNvPr id="19" name="Icon2"/>
              <p:cNvSpPr/>
              <p:nvPr>
                <p:custDataLst>
                  <p:tags r:id="rId15"/>
                </p:custDataLst>
              </p:nvPr>
            </p:nvSpPr>
            <p:spPr bwMode="auto">
              <a:xfrm>
                <a:off x="4523729" y="2944524"/>
                <a:ext cx="377825" cy="376239"/>
              </a:xfrm>
              <a:custGeom>
                <a:avLst/>
                <a:gdLst>
                  <a:gd name="T0" fmla="*/ 984018 w 1589088"/>
                  <a:gd name="T1" fmla="*/ 589506 h 1589088"/>
                  <a:gd name="T2" fmla="*/ 955171 w 1589088"/>
                  <a:gd name="T3" fmla="*/ 645802 h 1589088"/>
                  <a:gd name="T4" fmla="*/ 898294 w 1589088"/>
                  <a:gd name="T5" fmla="*/ 673272 h 1589088"/>
                  <a:gd name="T6" fmla="*/ 881422 w 1589088"/>
                  <a:gd name="T7" fmla="*/ 964824 h 1589088"/>
                  <a:gd name="T8" fmla="*/ 873530 w 1589088"/>
                  <a:gd name="T9" fmla="*/ 1040159 h 1589088"/>
                  <a:gd name="T10" fmla="*/ 824817 w 1589088"/>
                  <a:gd name="T11" fmla="*/ 1084490 h 1589088"/>
                  <a:gd name="T12" fmla="*/ 756238 w 1589088"/>
                  <a:gd name="T13" fmla="*/ 1088026 h 1589088"/>
                  <a:gd name="T14" fmla="*/ 703444 w 1589088"/>
                  <a:gd name="T15" fmla="*/ 1048590 h 1589088"/>
                  <a:gd name="T16" fmla="*/ 686571 w 1589088"/>
                  <a:gd name="T17" fmla="*/ 985493 h 1589088"/>
                  <a:gd name="T18" fmla="*/ 486007 w 1589088"/>
                  <a:gd name="T19" fmla="*/ 893024 h 1589088"/>
                  <a:gd name="T20" fmla="*/ 398106 w 1589088"/>
                  <a:gd name="T21" fmla="*/ 820680 h 1589088"/>
                  <a:gd name="T22" fmla="*/ 402189 w 1589088"/>
                  <a:gd name="T23" fmla="*/ 755134 h 1589088"/>
                  <a:gd name="T24" fmla="*/ 446547 w 1589088"/>
                  <a:gd name="T25" fmla="*/ 706452 h 1589088"/>
                  <a:gd name="T26" fmla="*/ 514037 w 1589088"/>
                  <a:gd name="T27" fmla="*/ 696389 h 1589088"/>
                  <a:gd name="T28" fmla="*/ 570641 w 1589088"/>
                  <a:gd name="T29" fmla="*/ 730385 h 1589088"/>
                  <a:gd name="T30" fmla="*/ 593501 w 1589088"/>
                  <a:gd name="T31" fmla="*/ 794027 h 1589088"/>
                  <a:gd name="T32" fmla="*/ 818558 w 1589088"/>
                  <a:gd name="T33" fmla="*/ 648522 h 1589088"/>
                  <a:gd name="T34" fmla="*/ 785901 w 1589088"/>
                  <a:gd name="T35" fmla="*/ 575091 h 1589088"/>
                  <a:gd name="T36" fmla="*/ 808761 w 1589088"/>
                  <a:gd name="T37" fmla="*/ 511721 h 1589088"/>
                  <a:gd name="T38" fmla="*/ 865365 w 1589088"/>
                  <a:gd name="T39" fmla="*/ 477726 h 1589088"/>
                  <a:gd name="T40" fmla="*/ 728574 w 1589088"/>
                  <a:gd name="T41" fmla="*/ 144010 h 1589088"/>
                  <a:gd name="T42" fmla="*/ 531280 w 1589088"/>
                  <a:gd name="T43" fmla="*/ 182593 h 1589088"/>
                  <a:gd name="T44" fmla="*/ 353281 w 1589088"/>
                  <a:gd name="T45" fmla="*/ 288291 h 1589088"/>
                  <a:gd name="T46" fmla="*/ 219577 w 1589088"/>
                  <a:gd name="T47" fmla="*/ 451592 h 1589088"/>
                  <a:gd name="T48" fmla="*/ 152454 w 1589088"/>
                  <a:gd name="T49" fmla="*/ 642880 h 1589088"/>
                  <a:gd name="T50" fmla="*/ 152454 w 1589088"/>
                  <a:gd name="T51" fmla="*/ 843135 h 1589088"/>
                  <a:gd name="T52" fmla="*/ 219577 w 1589088"/>
                  <a:gd name="T53" fmla="*/ 1034422 h 1589088"/>
                  <a:gd name="T54" fmla="*/ 353281 w 1589088"/>
                  <a:gd name="T55" fmla="*/ 1197724 h 1589088"/>
                  <a:gd name="T56" fmla="*/ 531280 w 1589088"/>
                  <a:gd name="T57" fmla="*/ 1303421 h 1589088"/>
                  <a:gd name="T58" fmla="*/ 728574 w 1589088"/>
                  <a:gd name="T59" fmla="*/ 1341734 h 1589088"/>
                  <a:gd name="T60" fmla="*/ 927227 w 1589088"/>
                  <a:gd name="T61" fmla="*/ 1312931 h 1589088"/>
                  <a:gd name="T62" fmla="*/ 1109302 w 1589088"/>
                  <a:gd name="T63" fmla="*/ 1217015 h 1589088"/>
                  <a:gd name="T64" fmla="*/ 1251431 w 1589088"/>
                  <a:gd name="T65" fmla="*/ 1059964 h 1589088"/>
                  <a:gd name="T66" fmla="*/ 1328065 w 1589088"/>
                  <a:gd name="T67" fmla="*/ 871393 h 1589088"/>
                  <a:gd name="T68" fmla="*/ 1337576 w 1589088"/>
                  <a:gd name="T69" fmla="*/ 671410 h 1589088"/>
                  <a:gd name="T70" fmla="*/ 1280237 w 1589088"/>
                  <a:gd name="T71" fmla="*/ 477677 h 1589088"/>
                  <a:gd name="T72" fmla="*/ 1155500 w 1589088"/>
                  <a:gd name="T73" fmla="*/ 308670 h 1589088"/>
                  <a:gd name="T74" fmla="*/ 981849 w 1589088"/>
                  <a:gd name="T75" fmla="*/ 193462 h 1589088"/>
                  <a:gd name="T76" fmla="*/ 785915 w 1589088"/>
                  <a:gd name="T77" fmla="*/ 145640 h 1589088"/>
                  <a:gd name="T78" fmla="*/ 902226 w 1589088"/>
                  <a:gd name="T79" fmla="*/ 17390 h 1589088"/>
                  <a:gd name="T80" fmla="*/ 1136207 w 1589088"/>
                  <a:gd name="T81" fmla="*/ 112491 h 1589088"/>
                  <a:gd name="T82" fmla="*/ 1320999 w 1589088"/>
                  <a:gd name="T83" fmla="*/ 276063 h 1589088"/>
                  <a:gd name="T84" fmla="*/ 1429702 w 1589088"/>
                  <a:gd name="T85" fmla="*/ 459201 h 1589088"/>
                  <a:gd name="T86" fmla="*/ 1481334 w 1589088"/>
                  <a:gd name="T87" fmla="*/ 660270 h 1589088"/>
                  <a:gd name="T88" fmla="*/ 1475356 w 1589088"/>
                  <a:gd name="T89" fmla="*/ 866502 h 1589088"/>
                  <a:gd name="T90" fmla="*/ 1412581 w 1589088"/>
                  <a:gd name="T91" fmla="*/ 1064855 h 1589088"/>
                  <a:gd name="T92" fmla="*/ 1892771 w 1589088"/>
                  <a:gd name="T93" fmla="*/ 1636001 h 1589088"/>
                  <a:gd name="T94" fmla="*/ 1896304 w 1589088"/>
                  <a:gd name="T95" fmla="*/ 1759632 h 1589088"/>
                  <a:gd name="T96" fmla="*/ 1783798 w 1589088"/>
                  <a:gd name="T97" fmla="*/ 1885980 h 1589088"/>
                  <a:gd name="T98" fmla="*/ 1662866 w 1589088"/>
                  <a:gd name="T99" fmla="*/ 1900381 h 1589088"/>
                  <a:gd name="T100" fmla="*/ 1104954 w 1589088"/>
                  <a:gd name="T101" fmla="*/ 1391458 h 1589088"/>
                  <a:gd name="T102" fmla="*/ 909835 w 1589088"/>
                  <a:gd name="T103" fmla="*/ 1466451 h 1589088"/>
                  <a:gd name="T104" fmla="*/ 704388 w 1589088"/>
                  <a:gd name="T105" fmla="*/ 1484656 h 1589088"/>
                  <a:gd name="T106" fmla="*/ 501116 w 1589088"/>
                  <a:gd name="T107" fmla="*/ 1445528 h 1589088"/>
                  <a:gd name="T108" fmla="*/ 313061 w 1589088"/>
                  <a:gd name="T109" fmla="*/ 1349069 h 1589088"/>
                  <a:gd name="T110" fmla="*/ 143758 w 1589088"/>
                  <a:gd name="T111" fmla="*/ 1181965 h 1589088"/>
                  <a:gd name="T112" fmla="*/ 30708 w 1589088"/>
                  <a:gd name="T113" fmla="*/ 954538 h 1589088"/>
                  <a:gd name="T114" fmla="*/ 815 w 1589088"/>
                  <a:gd name="T115" fmla="*/ 707277 h 1589088"/>
                  <a:gd name="T116" fmla="*/ 54351 w 1589088"/>
                  <a:gd name="T117" fmla="*/ 463275 h 1589088"/>
                  <a:gd name="T118" fmla="*/ 191315 w 1589088"/>
                  <a:gd name="T119" fmla="*/ 245360 h 1589088"/>
                  <a:gd name="T120" fmla="*/ 397577 w 1589088"/>
                  <a:gd name="T121" fmla="*/ 85319 h 1589088"/>
                  <a:gd name="T122" fmla="*/ 636177 w 1589088"/>
                  <a:gd name="T123" fmla="*/ 7880 h 15890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89088" h="1589088">
                    <a:moveTo>
                      <a:pt x="916859" y="288925"/>
                    </a:moveTo>
                    <a:lnTo>
                      <a:pt x="954088" y="332030"/>
                    </a:lnTo>
                    <a:lnTo>
                      <a:pt x="816067" y="450682"/>
                    </a:lnTo>
                    <a:lnTo>
                      <a:pt x="817430" y="454085"/>
                    </a:lnTo>
                    <a:lnTo>
                      <a:pt x="818338" y="457488"/>
                    </a:lnTo>
                    <a:lnTo>
                      <a:pt x="819246" y="461118"/>
                    </a:lnTo>
                    <a:lnTo>
                      <a:pt x="820381" y="464748"/>
                    </a:lnTo>
                    <a:lnTo>
                      <a:pt x="820835" y="468378"/>
                    </a:lnTo>
                    <a:lnTo>
                      <a:pt x="821289" y="472008"/>
                    </a:lnTo>
                    <a:lnTo>
                      <a:pt x="821743" y="475865"/>
                    </a:lnTo>
                    <a:lnTo>
                      <a:pt x="821743" y="479722"/>
                    </a:lnTo>
                    <a:lnTo>
                      <a:pt x="821743" y="483805"/>
                    </a:lnTo>
                    <a:lnTo>
                      <a:pt x="821289" y="487662"/>
                    </a:lnTo>
                    <a:lnTo>
                      <a:pt x="820835" y="491746"/>
                    </a:lnTo>
                    <a:lnTo>
                      <a:pt x="820154" y="495602"/>
                    </a:lnTo>
                    <a:lnTo>
                      <a:pt x="819246" y="499459"/>
                    </a:lnTo>
                    <a:lnTo>
                      <a:pt x="818338" y="503089"/>
                    </a:lnTo>
                    <a:lnTo>
                      <a:pt x="816976" y="506946"/>
                    </a:lnTo>
                    <a:lnTo>
                      <a:pt x="815840" y="510349"/>
                    </a:lnTo>
                    <a:lnTo>
                      <a:pt x="814251" y="513979"/>
                    </a:lnTo>
                    <a:lnTo>
                      <a:pt x="812662" y="517382"/>
                    </a:lnTo>
                    <a:lnTo>
                      <a:pt x="810619" y="520785"/>
                    </a:lnTo>
                    <a:lnTo>
                      <a:pt x="808803" y="523961"/>
                    </a:lnTo>
                    <a:lnTo>
                      <a:pt x="806760" y="527137"/>
                    </a:lnTo>
                    <a:lnTo>
                      <a:pt x="804263" y="530313"/>
                    </a:lnTo>
                    <a:lnTo>
                      <a:pt x="801993" y="533036"/>
                    </a:lnTo>
                    <a:lnTo>
                      <a:pt x="799496" y="535985"/>
                    </a:lnTo>
                    <a:lnTo>
                      <a:pt x="796772" y="538707"/>
                    </a:lnTo>
                    <a:lnTo>
                      <a:pt x="794048" y="541203"/>
                    </a:lnTo>
                    <a:lnTo>
                      <a:pt x="791324" y="543698"/>
                    </a:lnTo>
                    <a:lnTo>
                      <a:pt x="788146" y="545967"/>
                    </a:lnTo>
                    <a:lnTo>
                      <a:pt x="785194" y="548009"/>
                    </a:lnTo>
                    <a:lnTo>
                      <a:pt x="781789" y="550051"/>
                    </a:lnTo>
                    <a:lnTo>
                      <a:pt x="778611" y="552093"/>
                    </a:lnTo>
                    <a:lnTo>
                      <a:pt x="775433" y="553908"/>
                    </a:lnTo>
                    <a:lnTo>
                      <a:pt x="771801" y="555496"/>
                    </a:lnTo>
                    <a:lnTo>
                      <a:pt x="768396" y="556857"/>
                    </a:lnTo>
                    <a:lnTo>
                      <a:pt x="764537" y="558218"/>
                    </a:lnTo>
                    <a:lnTo>
                      <a:pt x="760905" y="559352"/>
                    </a:lnTo>
                    <a:lnTo>
                      <a:pt x="757046" y="560260"/>
                    </a:lnTo>
                    <a:lnTo>
                      <a:pt x="753413" y="560940"/>
                    </a:lnTo>
                    <a:lnTo>
                      <a:pt x="749327" y="561621"/>
                    </a:lnTo>
                    <a:lnTo>
                      <a:pt x="745241" y="562075"/>
                    </a:lnTo>
                    <a:lnTo>
                      <a:pt x="692121" y="754005"/>
                    </a:lnTo>
                    <a:lnTo>
                      <a:pt x="697343" y="756728"/>
                    </a:lnTo>
                    <a:lnTo>
                      <a:pt x="702110" y="759904"/>
                    </a:lnTo>
                    <a:lnTo>
                      <a:pt x="706650" y="763080"/>
                    </a:lnTo>
                    <a:lnTo>
                      <a:pt x="710963" y="766937"/>
                    </a:lnTo>
                    <a:lnTo>
                      <a:pt x="715049" y="770794"/>
                    </a:lnTo>
                    <a:lnTo>
                      <a:pt x="718908" y="774877"/>
                    </a:lnTo>
                    <a:lnTo>
                      <a:pt x="722313" y="779188"/>
                    </a:lnTo>
                    <a:lnTo>
                      <a:pt x="725718" y="783952"/>
                    </a:lnTo>
                    <a:lnTo>
                      <a:pt x="728670" y="788943"/>
                    </a:lnTo>
                    <a:lnTo>
                      <a:pt x="731167" y="793934"/>
                    </a:lnTo>
                    <a:lnTo>
                      <a:pt x="733437" y="799379"/>
                    </a:lnTo>
                    <a:lnTo>
                      <a:pt x="735253" y="804824"/>
                    </a:lnTo>
                    <a:lnTo>
                      <a:pt x="736615" y="810496"/>
                    </a:lnTo>
                    <a:lnTo>
                      <a:pt x="737750" y="816167"/>
                    </a:lnTo>
                    <a:lnTo>
                      <a:pt x="738431" y="822066"/>
                    </a:lnTo>
                    <a:lnTo>
                      <a:pt x="738658" y="828191"/>
                    </a:lnTo>
                    <a:lnTo>
                      <a:pt x="738658" y="832729"/>
                    </a:lnTo>
                    <a:lnTo>
                      <a:pt x="738431" y="836812"/>
                    </a:lnTo>
                    <a:lnTo>
                      <a:pt x="737523" y="840896"/>
                    </a:lnTo>
                    <a:lnTo>
                      <a:pt x="736842" y="844980"/>
                    </a:lnTo>
                    <a:lnTo>
                      <a:pt x="735934" y="849063"/>
                    </a:lnTo>
                    <a:lnTo>
                      <a:pt x="734799" y="852920"/>
                    </a:lnTo>
                    <a:lnTo>
                      <a:pt x="733664" y="856777"/>
                    </a:lnTo>
                    <a:lnTo>
                      <a:pt x="732075" y="860407"/>
                    </a:lnTo>
                    <a:lnTo>
                      <a:pt x="730259" y="864263"/>
                    </a:lnTo>
                    <a:lnTo>
                      <a:pt x="728670" y="867666"/>
                    </a:lnTo>
                    <a:lnTo>
                      <a:pt x="726626" y="871296"/>
                    </a:lnTo>
                    <a:lnTo>
                      <a:pt x="724583" y="874699"/>
                    </a:lnTo>
                    <a:lnTo>
                      <a:pt x="722086" y="877876"/>
                    </a:lnTo>
                    <a:lnTo>
                      <a:pt x="719589" y="881052"/>
                    </a:lnTo>
                    <a:lnTo>
                      <a:pt x="717092" y="884228"/>
                    </a:lnTo>
                    <a:lnTo>
                      <a:pt x="714141" y="886950"/>
                    </a:lnTo>
                    <a:lnTo>
                      <a:pt x="711417" y="889673"/>
                    </a:lnTo>
                    <a:lnTo>
                      <a:pt x="708239" y="892395"/>
                    </a:lnTo>
                    <a:lnTo>
                      <a:pt x="705288" y="894891"/>
                    </a:lnTo>
                    <a:lnTo>
                      <a:pt x="702110" y="896933"/>
                    </a:lnTo>
                    <a:lnTo>
                      <a:pt x="698705" y="899428"/>
                    </a:lnTo>
                    <a:lnTo>
                      <a:pt x="695299" y="901243"/>
                    </a:lnTo>
                    <a:lnTo>
                      <a:pt x="691440" y="903058"/>
                    </a:lnTo>
                    <a:lnTo>
                      <a:pt x="688035" y="904646"/>
                    </a:lnTo>
                    <a:lnTo>
                      <a:pt x="684176" y="906234"/>
                    </a:lnTo>
                    <a:lnTo>
                      <a:pt x="680317" y="907595"/>
                    </a:lnTo>
                    <a:lnTo>
                      <a:pt x="676231" y="908730"/>
                    </a:lnTo>
                    <a:lnTo>
                      <a:pt x="672372" y="909637"/>
                    </a:lnTo>
                    <a:lnTo>
                      <a:pt x="668286" y="910318"/>
                    </a:lnTo>
                    <a:lnTo>
                      <a:pt x="664199" y="910771"/>
                    </a:lnTo>
                    <a:lnTo>
                      <a:pt x="659886" y="911225"/>
                    </a:lnTo>
                    <a:lnTo>
                      <a:pt x="655573" y="911225"/>
                    </a:lnTo>
                    <a:lnTo>
                      <a:pt x="651260" y="911225"/>
                    </a:lnTo>
                    <a:lnTo>
                      <a:pt x="646947" y="910771"/>
                    </a:lnTo>
                    <a:lnTo>
                      <a:pt x="643088" y="910318"/>
                    </a:lnTo>
                    <a:lnTo>
                      <a:pt x="638775" y="909637"/>
                    </a:lnTo>
                    <a:lnTo>
                      <a:pt x="634915" y="908730"/>
                    </a:lnTo>
                    <a:lnTo>
                      <a:pt x="630829" y="907595"/>
                    </a:lnTo>
                    <a:lnTo>
                      <a:pt x="627197" y="906234"/>
                    </a:lnTo>
                    <a:lnTo>
                      <a:pt x="623338" y="904646"/>
                    </a:lnTo>
                    <a:lnTo>
                      <a:pt x="619706" y="903058"/>
                    </a:lnTo>
                    <a:lnTo>
                      <a:pt x="616074" y="901243"/>
                    </a:lnTo>
                    <a:lnTo>
                      <a:pt x="612669" y="899428"/>
                    </a:lnTo>
                    <a:lnTo>
                      <a:pt x="609037" y="896933"/>
                    </a:lnTo>
                    <a:lnTo>
                      <a:pt x="605858" y="894891"/>
                    </a:lnTo>
                    <a:lnTo>
                      <a:pt x="602680" y="892395"/>
                    </a:lnTo>
                    <a:lnTo>
                      <a:pt x="599729" y="889673"/>
                    </a:lnTo>
                    <a:lnTo>
                      <a:pt x="596778" y="886950"/>
                    </a:lnTo>
                    <a:lnTo>
                      <a:pt x="594054" y="884228"/>
                    </a:lnTo>
                    <a:lnTo>
                      <a:pt x="591557" y="881052"/>
                    </a:lnTo>
                    <a:lnTo>
                      <a:pt x="588833" y="877876"/>
                    </a:lnTo>
                    <a:lnTo>
                      <a:pt x="586790" y="874699"/>
                    </a:lnTo>
                    <a:lnTo>
                      <a:pt x="584520" y="871296"/>
                    </a:lnTo>
                    <a:lnTo>
                      <a:pt x="582704" y="867666"/>
                    </a:lnTo>
                    <a:lnTo>
                      <a:pt x="580661" y="864263"/>
                    </a:lnTo>
                    <a:lnTo>
                      <a:pt x="579072" y="860407"/>
                    </a:lnTo>
                    <a:lnTo>
                      <a:pt x="577710" y="856777"/>
                    </a:lnTo>
                    <a:lnTo>
                      <a:pt x="576348" y="852920"/>
                    </a:lnTo>
                    <a:lnTo>
                      <a:pt x="575212" y="849063"/>
                    </a:lnTo>
                    <a:lnTo>
                      <a:pt x="574077" y="844980"/>
                    </a:lnTo>
                    <a:lnTo>
                      <a:pt x="573396" y="840896"/>
                    </a:lnTo>
                    <a:lnTo>
                      <a:pt x="572942" y="836812"/>
                    </a:lnTo>
                    <a:lnTo>
                      <a:pt x="572488" y="832729"/>
                    </a:lnTo>
                    <a:lnTo>
                      <a:pt x="572488" y="828191"/>
                    </a:lnTo>
                    <a:lnTo>
                      <a:pt x="572488" y="825242"/>
                    </a:lnTo>
                    <a:lnTo>
                      <a:pt x="572715" y="822066"/>
                    </a:lnTo>
                    <a:lnTo>
                      <a:pt x="573623" y="815940"/>
                    </a:lnTo>
                    <a:lnTo>
                      <a:pt x="574986" y="810042"/>
                    </a:lnTo>
                    <a:lnTo>
                      <a:pt x="576575" y="804370"/>
                    </a:lnTo>
                    <a:lnTo>
                      <a:pt x="454445" y="733134"/>
                    </a:lnTo>
                    <a:lnTo>
                      <a:pt x="449904" y="736083"/>
                    </a:lnTo>
                    <a:lnTo>
                      <a:pt x="444910" y="738352"/>
                    </a:lnTo>
                    <a:lnTo>
                      <a:pt x="439689" y="740166"/>
                    </a:lnTo>
                    <a:lnTo>
                      <a:pt x="434468" y="741981"/>
                    </a:lnTo>
                    <a:lnTo>
                      <a:pt x="429020" y="743569"/>
                    </a:lnTo>
                    <a:lnTo>
                      <a:pt x="423571" y="744477"/>
                    </a:lnTo>
                    <a:lnTo>
                      <a:pt x="417669" y="745158"/>
                    </a:lnTo>
                    <a:lnTo>
                      <a:pt x="412221" y="745384"/>
                    </a:lnTo>
                    <a:lnTo>
                      <a:pt x="408589" y="745158"/>
                    </a:lnTo>
                    <a:lnTo>
                      <a:pt x="405411" y="744931"/>
                    </a:lnTo>
                    <a:lnTo>
                      <a:pt x="398828" y="744023"/>
                    </a:lnTo>
                    <a:lnTo>
                      <a:pt x="305755" y="898294"/>
                    </a:lnTo>
                    <a:lnTo>
                      <a:pt x="257175" y="869255"/>
                    </a:lnTo>
                    <a:lnTo>
                      <a:pt x="349113" y="716118"/>
                    </a:lnTo>
                    <a:lnTo>
                      <a:pt x="347070" y="713396"/>
                    </a:lnTo>
                    <a:lnTo>
                      <a:pt x="344573" y="710220"/>
                    </a:lnTo>
                    <a:lnTo>
                      <a:pt x="342757" y="707497"/>
                    </a:lnTo>
                    <a:lnTo>
                      <a:pt x="340714" y="704321"/>
                    </a:lnTo>
                    <a:lnTo>
                      <a:pt x="339125" y="701145"/>
                    </a:lnTo>
                    <a:lnTo>
                      <a:pt x="337536" y="697969"/>
                    </a:lnTo>
                    <a:lnTo>
                      <a:pt x="335720" y="694793"/>
                    </a:lnTo>
                    <a:lnTo>
                      <a:pt x="334358" y="691390"/>
                    </a:lnTo>
                    <a:lnTo>
                      <a:pt x="333223" y="687987"/>
                    </a:lnTo>
                    <a:lnTo>
                      <a:pt x="332087" y="684584"/>
                    </a:lnTo>
                    <a:lnTo>
                      <a:pt x="331179" y="680954"/>
                    </a:lnTo>
                    <a:lnTo>
                      <a:pt x="330498" y="677324"/>
                    </a:lnTo>
                    <a:lnTo>
                      <a:pt x="329590" y="673467"/>
                    </a:lnTo>
                    <a:lnTo>
                      <a:pt x="329136" y="670064"/>
                    </a:lnTo>
                    <a:lnTo>
                      <a:pt x="328909" y="665981"/>
                    </a:lnTo>
                    <a:lnTo>
                      <a:pt x="328909" y="662351"/>
                    </a:lnTo>
                    <a:lnTo>
                      <a:pt x="328909" y="658040"/>
                    </a:lnTo>
                    <a:lnTo>
                      <a:pt x="329363" y="653730"/>
                    </a:lnTo>
                    <a:lnTo>
                      <a:pt x="330044" y="649646"/>
                    </a:lnTo>
                    <a:lnTo>
                      <a:pt x="330725" y="645335"/>
                    </a:lnTo>
                    <a:lnTo>
                      <a:pt x="331633" y="641479"/>
                    </a:lnTo>
                    <a:lnTo>
                      <a:pt x="332768" y="637395"/>
                    </a:lnTo>
                    <a:lnTo>
                      <a:pt x="333904" y="633765"/>
                    </a:lnTo>
                    <a:lnTo>
                      <a:pt x="335493" y="629908"/>
                    </a:lnTo>
                    <a:lnTo>
                      <a:pt x="337082" y="626279"/>
                    </a:lnTo>
                    <a:lnTo>
                      <a:pt x="339125" y="622649"/>
                    </a:lnTo>
                    <a:lnTo>
                      <a:pt x="340941" y="619246"/>
                    </a:lnTo>
                    <a:lnTo>
                      <a:pt x="342984" y="615843"/>
                    </a:lnTo>
                    <a:lnTo>
                      <a:pt x="345481" y="612666"/>
                    </a:lnTo>
                    <a:lnTo>
                      <a:pt x="347978" y="609263"/>
                    </a:lnTo>
                    <a:lnTo>
                      <a:pt x="350475" y="606314"/>
                    </a:lnTo>
                    <a:lnTo>
                      <a:pt x="353426" y="603592"/>
                    </a:lnTo>
                    <a:lnTo>
                      <a:pt x="356150" y="600642"/>
                    </a:lnTo>
                    <a:lnTo>
                      <a:pt x="359101" y="598147"/>
                    </a:lnTo>
                    <a:lnTo>
                      <a:pt x="362279" y="595878"/>
                    </a:lnTo>
                    <a:lnTo>
                      <a:pt x="365458" y="593383"/>
                    </a:lnTo>
                    <a:lnTo>
                      <a:pt x="369090" y="591341"/>
                    </a:lnTo>
                    <a:lnTo>
                      <a:pt x="372495" y="589299"/>
                    </a:lnTo>
                    <a:lnTo>
                      <a:pt x="376127" y="587484"/>
                    </a:lnTo>
                    <a:lnTo>
                      <a:pt x="379759" y="585669"/>
                    </a:lnTo>
                    <a:lnTo>
                      <a:pt x="383618" y="584308"/>
                    </a:lnTo>
                    <a:lnTo>
                      <a:pt x="387250" y="582947"/>
                    </a:lnTo>
                    <a:lnTo>
                      <a:pt x="391336" y="581812"/>
                    </a:lnTo>
                    <a:lnTo>
                      <a:pt x="395196" y="580905"/>
                    </a:lnTo>
                    <a:lnTo>
                      <a:pt x="399509" y="580224"/>
                    </a:lnTo>
                    <a:lnTo>
                      <a:pt x="403368" y="579544"/>
                    </a:lnTo>
                    <a:lnTo>
                      <a:pt x="407681" y="579317"/>
                    </a:lnTo>
                    <a:lnTo>
                      <a:pt x="412221" y="579090"/>
                    </a:lnTo>
                    <a:lnTo>
                      <a:pt x="416307" y="579317"/>
                    </a:lnTo>
                    <a:lnTo>
                      <a:pt x="420620" y="579544"/>
                    </a:lnTo>
                    <a:lnTo>
                      <a:pt x="424707" y="580224"/>
                    </a:lnTo>
                    <a:lnTo>
                      <a:pt x="428793" y="580905"/>
                    </a:lnTo>
                    <a:lnTo>
                      <a:pt x="432652" y="581812"/>
                    </a:lnTo>
                    <a:lnTo>
                      <a:pt x="436738" y="582947"/>
                    </a:lnTo>
                    <a:lnTo>
                      <a:pt x="440597" y="584308"/>
                    </a:lnTo>
                    <a:lnTo>
                      <a:pt x="444456" y="585669"/>
                    </a:lnTo>
                    <a:lnTo>
                      <a:pt x="447861" y="587484"/>
                    </a:lnTo>
                    <a:lnTo>
                      <a:pt x="451720" y="589299"/>
                    </a:lnTo>
                    <a:lnTo>
                      <a:pt x="454899" y="591341"/>
                    </a:lnTo>
                    <a:lnTo>
                      <a:pt x="458531" y="593383"/>
                    </a:lnTo>
                    <a:lnTo>
                      <a:pt x="461709" y="595878"/>
                    </a:lnTo>
                    <a:lnTo>
                      <a:pt x="464887" y="598147"/>
                    </a:lnTo>
                    <a:lnTo>
                      <a:pt x="467838" y="600642"/>
                    </a:lnTo>
                    <a:lnTo>
                      <a:pt x="470562" y="603592"/>
                    </a:lnTo>
                    <a:lnTo>
                      <a:pt x="473513" y="606314"/>
                    </a:lnTo>
                    <a:lnTo>
                      <a:pt x="476010" y="609263"/>
                    </a:lnTo>
                    <a:lnTo>
                      <a:pt x="478734" y="612666"/>
                    </a:lnTo>
                    <a:lnTo>
                      <a:pt x="481004" y="615843"/>
                    </a:lnTo>
                    <a:lnTo>
                      <a:pt x="483047" y="619246"/>
                    </a:lnTo>
                    <a:lnTo>
                      <a:pt x="484864" y="622649"/>
                    </a:lnTo>
                    <a:lnTo>
                      <a:pt x="486907" y="626279"/>
                    </a:lnTo>
                    <a:lnTo>
                      <a:pt x="488496" y="629908"/>
                    </a:lnTo>
                    <a:lnTo>
                      <a:pt x="490085" y="633765"/>
                    </a:lnTo>
                    <a:lnTo>
                      <a:pt x="491220" y="637395"/>
                    </a:lnTo>
                    <a:lnTo>
                      <a:pt x="492355" y="641479"/>
                    </a:lnTo>
                    <a:lnTo>
                      <a:pt x="493490" y="645335"/>
                    </a:lnTo>
                    <a:lnTo>
                      <a:pt x="494171" y="649646"/>
                    </a:lnTo>
                    <a:lnTo>
                      <a:pt x="494625" y="653730"/>
                    </a:lnTo>
                    <a:lnTo>
                      <a:pt x="495079" y="658040"/>
                    </a:lnTo>
                    <a:lnTo>
                      <a:pt x="495079" y="662351"/>
                    </a:lnTo>
                    <a:lnTo>
                      <a:pt x="495079" y="665527"/>
                    </a:lnTo>
                    <a:lnTo>
                      <a:pt x="494852" y="669157"/>
                    </a:lnTo>
                    <a:lnTo>
                      <a:pt x="494398" y="672333"/>
                    </a:lnTo>
                    <a:lnTo>
                      <a:pt x="493944" y="675509"/>
                    </a:lnTo>
                    <a:lnTo>
                      <a:pt x="492355" y="682088"/>
                    </a:lnTo>
                    <a:lnTo>
                      <a:pt x="490539" y="688214"/>
                    </a:lnTo>
                    <a:lnTo>
                      <a:pt x="610853" y="758543"/>
                    </a:lnTo>
                    <a:lnTo>
                      <a:pt x="616528" y="755140"/>
                    </a:lnTo>
                    <a:lnTo>
                      <a:pt x="622430" y="752417"/>
                    </a:lnTo>
                    <a:lnTo>
                      <a:pt x="628559" y="749922"/>
                    </a:lnTo>
                    <a:lnTo>
                      <a:pt x="634915" y="748107"/>
                    </a:lnTo>
                    <a:lnTo>
                      <a:pt x="690305" y="547101"/>
                    </a:lnTo>
                    <a:lnTo>
                      <a:pt x="686673" y="544152"/>
                    </a:lnTo>
                    <a:lnTo>
                      <a:pt x="682814" y="540976"/>
                    </a:lnTo>
                    <a:lnTo>
                      <a:pt x="679409" y="537800"/>
                    </a:lnTo>
                    <a:lnTo>
                      <a:pt x="676004" y="533943"/>
                    </a:lnTo>
                    <a:lnTo>
                      <a:pt x="673053" y="530540"/>
                    </a:lnTo>
                    <a:lnTo>
                      <a:pt x="670102" y="526456"/>
                    </a:lnTo>
                    <a:lnTo>
                      <a:pt x="667605" y="522373"/>
                    </a:lnTo>
                    <a:lnTo>
                      <a:pt x="665107" y="518062"/>
                    </a:lnTo>
                    <a:lnTo>
                      <a:pt x="662837" y="513979"/>
                    </a:lnTo>
                    <a:lnTo>
                      <a:pt x="661021" y="509214"/>
                    </a:lnTo>
                    <a:lnTo>
                      <a:pt x="659432" y="504450"/>
                    </a:lnTo>
                    <a:lnTo>
                      <a:pt x="658070" y="499913"/>
                    </a:lnTo>
                    <a:lnTo>
                      <a:pt x="657162" y="494922"/>
                    </a:lnTo>
                    <a:lnTo>
                      <a:pt x="656027" y="489931"/>
                    </a:lnTo>
                    <a:lnTo>
                      <a:pt x="655573" y="484940"/>
                    </a:lnTo>
                    <a:lnTo>
                      <a:pt x="655573" y="479722"/>
                    </a:lnTo>
                    <a:lnTo>
                      <a:pt x="655573" y="475411"/>
                    </a:lnTo>
                    <a:lnTo>
                      <a:pt x="655800" y="471327"/>
                    </a:lnTo>
                    <a:lnTo>
                      <a:pt x="656708" y="467017"/>
                    </a:lnTo>
                    <a:lnTo>
                      <a:pt x="657389" y="463160"/>
                    </a:lnTo>
                    <a:lnTo>
                      <a:pt x="658297" y="458850"/>
                    </a:lnTo>
                    <a:lnTo>
                      <a:pt x="659432" y="455220"/>
                    </a:lnTo>
                    <a:lnTo>
                      <a:pt x="660567" y="451136"/>
                    </a:lnTo>
                    <a:lnTo>
                      <a:pt x="661929" y="447506"/>
                    </a:lnTo>
                    <a:lnTo>
                      <a:pt x="663745" y="443649"/>
                    </a:lnTo>
                    <a:lnTo>
                      <a:pt x="665561" y="440246"/>
                    </a:lnTo>
                    <a:lnTo>
                      <a:pt x="667605" y="436617"/>
                    </a:lnTo>
                    <a:lnTo>
                      <a:pt x="669648" y="433440"/>
                    </a:lnTo>
                    <a:lnTo>
                      <a:pt x="672145" y="430037"/>
                    </a:lnTo>
                    <a:lnTo>
                      <a:pt x="674642" y="426861"/>
                    </a:lnTo>
                    <a:lnTo>
                      <a:pt x="677139" y="423912"/>
                    </a:lnTo>
                    <a:lnTo>
                      <a:pt x="679863" y="420963"/>
                    </a:lnTo>
                    <a:lnTo>
                      <a:pt x="682814" y="418240"/>
                    </a:lnTo>
                    <a:lnTo>
                      <a:pt x="685765" y="415518"/>
                    </a:lnTo>
                    <a:lnTo>
                      <a:pt x="688943" y="413249"/>
                    </a:lnTo>
                    <a:lnTo>
                      <a:pt x="692121" y="410980"/>
                    </a:lnTo>
                    <a:lnTo>
                      <a:pt x="695526" y="408712"/>
                    </a:lnTo>
                    <a:lnTo>
                      <a:pt x="698932" y="406670"/>
                    </a:lnTo>
                    <a:lnTo>
                      <a:pt x="702791" y="404855"/>
                    </a:lnTo>
                    <a:lnTo>
                      <a:pt x="706196" y="403267"/>
                    </a:lnTo>
                    <a:lnTo>
                      <a:pt x="710055" y="401679"/>
                    </a:lnTo>
                    <a:lnTo>
                      <a:pt x="713914" y="400318"/>
                    </a:lnTo>
                    <a:lnTo>
                      <a:pt x="718000" y="399410"/>
                    </a:lnTo>
                    <a:lnTo>
                      <a:pt x="721859" y="398503"/>
                    </a:lnTo>
                    <a:lnTo>
                      <a:pt x="725945" y="397595"/>
                    </a:lnTo>
                    <a:lnTo>
                      <a:pt x="730032" y="397141"/>
                    </a:lnTo>
                    <a:lnTo>
                      <a:pt x="734345" y="396915"/>
                    </a:lnTo>
                    <a:lnTo>
                      <a:pt x="738658" y="396688"/>
                    </a:lnTo>
                    <a:lnTo>
                      <a:pt x="744106" y="396915"/>
                    </a:lnTo>
                    <a:lnTo>
                      <a:pt x="749554" y="397595"/>
                    </a:lnTo>
                    <a:lnTo>
                      <a:pt x="754775" y="398276"/>
                    </a:lnTo>
                    <a:lnTo>
                      <a:pt x="759770" y="399637"/>
                    </a:lnTo>
                    <a:lnTo>
                      <a:pt x="764764" y="400998"/>
                    </a:lnTo>
                    <a:lnTo>
                      <a:pt x="769758" y="403040"/>
                    </a:lnTo>
                    <a:lnTo>
                      <a:pt x="774298" y="405082"/>
                    </a:lnTo>
                    <a:lnTo>
                      <a:pt x="778838" y="407577"/>
                    </a:lnTo>
                    <a:lnTo>
                      <a:pt x="916859" y="288925"/>
                    </a:lnTo>
                    <a:close/>
                    <a:moveTo>
                      <a:pt x="607752" y="120128"/>
                    </a:moveTo>
                    <a:lnTo>
                      <a:pt x="595738" y="120581"/>
                    </a:lnTo>
                    <a:lnTo>
                      <a:pt x="583950" y="121488"/>
                    </a:lnTo>
                    <a:lnTo>
                      <a:pt x="571936" y="122621"/>
                    </a:lnTo>
                    <a:lnTo>
                      <a:pt x="559921" y="123755"/>
                    </a:lnTo>
                    <a:lnTo>
                      <a:pt x="548133" y="125341"/>
                    </a:lnTo>
                    <a:lnTo>
                      <a:pt x="536119" y="127154"/>
                    </a:lnTo>
                    <a:lnTo>
                      <a:pt x="524331" y="129421"/>
                    </a:lnTo>
                    <a:lnTo>
                      <a:pt x="512543" y="131688"/>
                    </a:lnTo>
                    <a:lnTo>
                      <a:pt x="500755" y="134407"/>
                    </a:lnTo>
                    <a:lnTo>
                      <a:pt x="489194" y="137581"/>
                    </a:lnTo>
                    <a:lnTo>
                      <a:pt x="477406" y="140754"/>
                    </a:lnTo>
                    <a:lnTo>
                      <a:pt x="466072" y="144380"/>
                    </a:lnTo>
                    <a:lnTo>
                      <a:pt x="454511" y="148234"/>
                    </a:lnTo>
                    <a:lnTo>
                      <a:pt x="443176" y="152313"/>
                    </a:lnTo>
                    <a:lnTo>
                      <a:pt x="431615" y="156620"/>
                    </a:lnTo>
                    <a:lnTo>
                      <a:pt x="420508" y="161380"/>
                    </a:lnTo>
                    <a:lnTo>
                      <a:pt x="409400" y="166593"/>
                    </a:lnTo>
                    <a:lnTo>
                      <a:pt x="398519" y="171579"/>
                    </a:lnTo>
                    <a:lnTo>
                      <a:pt x="387411" y="177246"/>
                    </a:lnTo>
                    <a:lnTo>
                      <a:pt x="376530" y="183139"/>
                    </a:lnTo>
                    <a:lnTo>
                      <a:pt x="365876" y="189485"/>
                    </a:lnTo>
                    <a:lnTo>
                      <a:pt x="355221" y="195831"/>
                    </a:lnTo>
                    <a:lnTo>
                      <a:pt x="344794" y="202631"/>
                    </a:lnTo>
                    <a:lnTo>
                      <a:pt x="334593" y="209431"/>
                    </a:lnTo>
                    <a:lnTo>
                      <a:pt x="324392" y="216684"/>
                    </a:lnTo>
                    <a:lnTo>
                      <a:pt x="314191" y="224163"/>
                    </a:lnTo>
                    <a:lnTo>
                      <a:pt x="304443" y="232323"/>
                    </a:lnTo>
                    <a:lnTo>
                      <a:pt x="294695" y="240483"/>
                    </a:lnTo>
                    <a:lnTo>
                      <a:pt x="284948" y="248869"/>
                    </a:lnTo>
                    <a:lnTo>
                      <a:pt x="275654" y="257482"/>
                    </a:lnTo>
                    <a:lnTo>
                      <a:pt x="266359" y="266548"/>
                    </a:lnTo>
                    <a:lnTo>
                      <a:pt x="257518" y="275614"/>
                    </a:lnTo>
                    <a:lnTo>
                      <a:pt x="248678" y="285134"/>
                    </a:lnTo>
                    <a:lnTo>
                      <a:pt x="240290" y="294654"/>
                    </a:lnTo>
                    <a:lnTo>
                      <a:pt x="232129" y="304400"/>
                    </a:lnTo>
                    <a:lnTo>
                      <a:pt x="224195" y="314373"/>
                    </a:lnTo>
                    <a:lnTo>
                      <a:pt x="216714" y="324346"/>
                    </a:lnTo>
                    <a:lnTo>
                      <a:pt x="209460" y="334545"/>
                    </a:lnTo>
                    <a:lnTo>
                      <a:pt x="202433" y="344971"/>
                    </a:lnTo>
                    <a:lnTo>
                      <a:pt x="195632" y="355397"/>
                    </a:lnTo>
                    <a:lnTo>
                      <a:pt x="189058" y="366050"/>
                    </a:lnTo>
                    <a:lnTo>
                      <a:pt x="183164" y="376703"/>
                    </a:lnTo>
                    <a:lnTo>
                      <a:pt x="177271" y="387583"/>
                    </a:lnTo>
                    <a:lnTo>
                      <a:pt x="171603" y="398462"/>
                    </a:lnTo>
                    <a:lnTo>
                      <a:pt x="166390" y="409342"/>
                    </a:lnTo>
                    <a:lnTo>
                      <a:pt x="161402" y="420448"/>
                    </a:lnTo>
                    <a:lnTo>
                      <a:pt x="156642" y="431554"/>
                    </a:lnTo>
                    <a:lnTo>
                      <a:pt x="152108" y="443114"/>
                    </a:lnTo>
                    <a:lnTo>
                      <a:pt x="148028" y="454673"/>
                    </a:lnTo>
                    <a:lnTo>
                      <a:pt x="144174" y="466006"/>
                    </a:lnTo>
                    <a:lnTo>
                      <a:pt x="140774" y="477565"/>
                    </a:lnTo>
                    <a:lnTo>
                      <a:pt x="137373" y="489125"/>
                    </a:lnTo>
                    <a:lnTo>
                      <a:pt x="134426" y="500911"/>
                    </a:lnTo>
                    <a:lnTo>
                      <a:pt x="131706" y="512470"/>
                    </a:lnTo>
                    <a:lnTo>
                      <a:pt x="129213" y="524256"/>
                    </a:lnTo>
                    <a:lnTo>
                      <a:pt x="127172" y="536269"/>
                    </a:lnTo>
                    <a:lnTo>
                      <a:pt x="125359" y="548055"/>
                    </a:lnTo>
                    <a:lnTo>
                      <a:pt x="123772" y="560068"/>
                    </a:lnTo>
                    <a:lnTo>
                      <a:pt x="122185" y="571854"/>
                    </a:lnTo>
                    <a:lnTo>
                      <a:pt x="121278" y="583867"/>
                    </a:lnTo>
                    <a:lnTo>
                      <a:pt x="120598" y="595880"/>
                    </a:lnTo>
                    <a:lnTo>
                      <a:pt x="120145" y="607666"/>
                    </a:lnTo>
                    <a:lnTo>
                      <a:pt x="120145" y="619905"/>
                    </a:lnTo>
                    <a:lnTo>
                      <a:pt x="120145" y="631918"/>
                    </a:lnTo>
                    <a:lnTo>
                      <a:pt x="120598" y="643704"/>
                    </a:lnTo>
                    <a:lnTo>
                      <a:pt x="121278" y="655717"/>
                    </a:lnTo>
                    <a:lnTo>
                      <a:pt x="122185" y="667503"/>
                    </a:lnTo>
                    <a:lnTo>
                      <a:pt x="123772" y="679516"/>
                    </a:lnTo>
                    <a:lnTo>
                      <a:pt x="125359" y="691529"/>
                    </a:lnTo>
                    <a:lnTo>
                      <a:pt x="127172" y="703315"/>
                    </a:lnTo>
                    <a:lnTo>
                      <a:pt x="129213" y="715328"/>
                    </a:lnTo>
                    <a:lnTo>
                      <a:pt x="131706" y="726887"/>
                    </a:lnTo>
                    <a:lnTo>
                      <a:pt x="134426" y="738673"/>
                    </a:lnTo>
                    <a:lnTo>
                      <a:pt x="137373" y="750460"/>
                    </a:lnTo>
                    <a:lnTo>
                      <a:pt x="140774" y="762019"/>
                    </a:lnTo>
                    <a:lnTo>
                      <a:pt x="144174" y="773579"/>
                    </a:lnTo>
                    <a:lnTo>
                      <a:pt x="148028" y="784911"/>
                    </a:lnTo>
                    <a:lnTo>
                      <a:pt x="152108" y="796471"/>
                    </a:lnTo>
                    <a:lnTo>
                      <a:pt x="156642" y="807804"/>
                    </a:lnTo>
                    <a:lnTo>
                      <a:pt x="161402" y="819136"/>
                    </a:lnTo>
                    <a:lnTo>
                      <a:pt x="166390" y="830016"/>
                    </a:lnTo>
                    <a:lnTo>
                      <a:pt x="171603" y="841122"/>
                    </a:lnTo>
                    <a:lnTo>
                      <a:pt x="177271" y="852002"/>
                    </a:lnTo>
                    <a:lnTo>
                      <a:pt x="183164" y="862881"/>
                    </a:lnTo>
                    <a:lnTo>
                      <a:pt x="189058" y="873534"/>
                    </a:lnTo>
                    <a:lnTo>
                      <a:pt x="195632" y="884187"/>
                    </a:lnTo>
                    <a:lnTo>
                      <a:pt x="202433" y="894613"/>
                    </a:lnTo>
                    <a:lnTo>
                      <a:pt x="209460" y="904813"/>
                    </a:lnTo>
                    <a:lnTo>
                      <a:pt x="216714" y="915239"/>
                    </a:lnTo>
                    <a:lnTo>
                      <a:pt x="224195" y="925212"/>
                    </a:lnTo>
                    <a:lnTo>
                      <a:pt x="232129" y="934958"/>
                    </a:lnTo>
                    <a:lnTo>
                      <a:pt x="240290" y="944931"/>
                    </a:lnTo>
                    <a:lnTo>
                      <a:pt x="248678" y="954450"/>
                    </a:lnTo>
                    <a:lnTo>
                      <a:pt x="257518" y="963743"/>
                    </a:lnTo>
                    <a:lnTo>
                      <a:pt x="266359" y="973036"/>
                    </a:lnTo>
                    <a:lnTo>
                      <a:pt x="275654" y="982102"/>
                    </a:lnTo>
                    <a:lnTo>
                      <a:pt x="284948" y="990715"/>
                    </a:lnTo>
                    <a:lnTo>
                      <a:pt x="294695" y="999102"/>
                    </a:lnTo>
                    <a:lnTo>
                      <a:pt x="304443" y="1007261"/>
                    </a:lnTo>
                    <a:lnTo>
                      <a:pt x="314191" y="1015194"/>
                    </a:lnTo>
                    <a:lnTo>
                      <a:pt x="324392" y="1022674"/>
                    </a:lnTo>
                    <a:lnTo>
                      <a:pt x="334593" y="1029927"/>
                    </a:lnTo>
                    <a:lnTo>
                      <a:pt x="344794" y="1036953"/>
                    </a:lnTo>
                    <a:lnTo>
                      <a:pt x="355221" y="1043753"/>
                    </a:lnTo>
                    <a:lnTo>
                      <a:pt x="365876" y="1050099"/>
                    </a:lnTo>
                    <a:lnTo>
                      <a:pt x="376530" y="1056446"/>
                    </a:lnTo>
                    <a:lnTo>
                      <a:pt x="387411" y="1062339"/>
                    </a:lnTo>
                    <a:lnTo>
                      <a:pt x="398292" y="1067779"/>
                    </a:lnTo>
                    <a:lnTo>
                      <a:pt x="409400" y="1072992"/>
                    </a:lnTo>
                    <a:lnTo>
                      <a:pt x="420508" y="1078205"/>
                    </a:lnTo>
                    <a:lnTo>
                      <a:pt x="431615" y="1082738"/>
                    </a:lnTo>
                    <a:lnTo>
                      <a:pt x="443176" y="1087271"/>
                    </a:lnTo>
                    <a:lnTo>
                      <a:pt x="454511" y="1091351"/>
                    </a:lnTo>
                    <a:lnTo>
                      <a:pt x="466072" y="1095204"/>
                    </a:lnTo>
                    <a:lnTo>
                      <a:pt x="477406" y="1098830"/>
                    </a:lnTo>
                    <a:lnTo>
                      <a:pt x="489194" y="1102004"/>
                    </a:lnTo>
                    <a:lnTo>
                      <a:pt x="500755" y="1104950"/>
                    </a:lnTo>
                    <a:lnTo>
                      <a:pt x="512543" y="1107897"/>
                    </a:lnTo>
                    <a:lnTo>
                      <a:pt x="524331" y="1110163"/>
                    </a:lnTo>
                    <a:lnTo>
                      <a:pt x="536119" y="1112203"/>
                    </a:lnTo>
                    <a:lnTo>
                      <a:pt x="548133" y="1114243"/>
                    </a:lnTo>
                    <a:lnTo>
                      <a:pt x="559921" y="1115830"/>
                    </a:lnTo>
                    <a:lnTo>
                      <a:pt x="571936" y="1116963"/>
                    </a:lnTo>
                    <a:lnTo>
                      <a:pt x="583950" y="1118096"/>
                    </a:lnTo>
                    <a:lnTo>
                      <a:pt x="595738" y="1118776"/>
                    </a:lnTo>
                    <a:lnTo>
                      <a:pt x="607752" y="1119230"/>
                    </a:lnTo>
                    <a:lnTo>
                      <a:pt x="619540" y="1119230"/>
                    </a:lnTo>
                    <a:lnTo>
                      <a:pt x="631782" y="1119230"/>
                    </a:lnTo>
                    <a:lnTo>
                      <a:pt x="643796" y="1118776"/>
                    </a:lnTo>
                    <a:lnTo>
                      <a:pt x="655584" y="1118096"/>
                    </a:lnTo>
                    <a:lnTo>
                      <a:pt x="667598" y="1116963"/>
                    </a:lnTo>
                    <a:lnTo>
                      <a:pt x="679613" y="1115830"/>
                    </a:lnTo>
                    <a:lnTo>
                      <a:pt x="691401" y="1114243"/>
                    </a:lnTo>
                    <a:lnTo>
                      <a:pt x="703415" y="1112203"/>
                    </a:lnTo>
                    <a:lnTo>
                      <a:pt x="715203" y="1110163"/>
                    </a:lnTo>
                    <a:lnTo>
                      <a:pt x="726991" y="1107897"/>
                    </a:lnTo>
                    <a:lnTo>
                      <a:pt x="738779" y="1104950"/>
                    </a:lnTo>
                    <a:lnTo>
                      <a:pt x="750340" y="1102004"/>
                    </a:lnTo>
                    <a:lnTo>
                      <a:pt x="762128" y="1098830"/>
                    </a:lnTo>
                    <a:lnTo>
                      <a:pt x="773462" y="1095204"/>
                    </a:lnTo>
                    <a:lnTo>
                      <a:pt x="785023" y="1091351"/>
                    </a:lnTo>
                    <a:lnTo>
                      <a:pt x="796358" y="1087271"/>
                    </a:lnTo>
                    <a:lnTo>
                      <a:pt x="807692" y="1082738"/>
                    </a:lnTo>
                    <a:lnTo>
                      <a:pt x="819026" y="1078205"/>
                    </a:lnTo>
                    <a:lnTo>
                      <a:pt x="830134" y="1072992"/>
                    </a:lnTo>
                    <a:lnTo>
                      <a:pt x="841015" y="1067779"/>
                    </a:lnTo>
                    <a:lnTo>
                      <a:pt x="852123" y="1062339"/>
                    </a:lnTo>
                    <a:lnTo>
                      <a:pt x="862777" y="1056446"/>
                    </a:lnTo>
                    <a:lnTo>
                      <a:pt x="873658" y="1050099"/>
                    </a:lnTo>
                    <a:lnTo>
                      <a:pt x="884086" y="1043753"/>
                    </a:lnTo>
                    <a:lnTo>
                      <a:pt x="894740" y="1036953"/>
                    </a:lnTo>
                    <a:lnTo>
                      <a:pt x="904941" y="1029927"/>
                    </a:lnTo>
                    <a:lnTo>
                      <a:pt x="915142" y="1022674"/>
                    </a:lnTo>
                    <a:lnTo>
                      <a:pt x="925343" y="1015194"/>
                    </a:lnTo>
                    <a:lnTo>
                      <a:pt x="935091" y="1007261"/>
                    </a:lnTo>
                    <a:lnTo>
                      <a:pt x="944839" y="999102"/>
                    </a:lnTo>
                    <a:lnTo>
                      <a:pt x="954586" y="990715"/>
                    </a:lnTo>
                    <a:lnTo>
                      <a:pt x="963880" y="982102"/>
                    </a:lnTo>
                    <a:lnTo>
                      <a:pt x="972948" y="973036"/>
                    </a:lnTo>
                    <a:lnTo>
                      <a:pt x="982016" y="963743"/>
                    </a:lnTo>
                    <a:lnTo>
                      <a:pt x="990856" y="954450"/>
                    </a:lnTo>
                    <a:lnTo>
                      <a:pt x="999244" y="944931"/>
                    </a:lnTo>
                    <a:lnTo>
                      <a:pt x="1007405" y="934958"/>
                    </a:lnTo>
                    <a:lnTo>
                      <a:pt x="1015339" y="925212"/>
                    </a:lnTo>
                    <a:lnTo>
                      <a:pt x="1022820" y="915239"/>
                    </a:lnTo>
                    <a:lnTo>
                      <a:pt x="1030074" y="904813"/>
                    </a:lnTo>
                    <a:lnTo>
                      <a:pt x="1037101" y="894613"/>
                    </a:lnTo>
                    <a:lnTo>
                      <a:pt x="1043902" y="884187"/>
                    </a:lnTo>
                    <a:lnTo>
                      <a:pt x="1050249" y="873534"/>
                    </a:lnTo>
                    <a:lnTo>
                      <a:pt x="1056370" y="862881"/>
                    </a:lnTo>
                    <a:lnTo>
                      <a:pt x="1062263" y="852002"/>
                    </a:lnTo>
                    <a:lnTo>
                      <a:pt x="1067931" y="841122"/>
                    </a:lnTo>
                    <a:lnTo>
                      <a:pt x="1073144" y="830016"/>
                    </a:lnTo>
                    <a:lnTo>
                      <a:pt x="1078132" y="819136"/>
                    </a:lnTo>
                    <a:lnTo>
                      <a:pt x="1082892" y="807804"/>
                    </a:lnTo>
                    <a:lnTo>
                      <a:pt x="1087426" y="796471"/>
                    </a:lnTo>
                    <a:lnTo>
                      <a:pt x="1091280" y="784911"/>
                    </a:lnTo>
                    <a:lnTo>
                      <a:pt x="1095360" y="773579"/>
                    </a:lnTo>
                    <a:lnTo>
                      <a:pt x="1098760" y="762019"/>
                    </a:lnTo>
                    <a:lnTo>
                      <a:pt x="1102161" y="750460"/>
                    </a:lnTo>
                    <a:lnTo>
                      <a:pt x="1105108" y="738673"/>
                    </a:lnTo>
                    <a:lnTo>
                      <a:pt x="1107828" y="726887"/>
                    </a:lnTo>
                    <a:lnTo>
                      <a:pt x="1110321" y="715328"/>
                    </a:lnTo>
                    <a:lnTo>
                      <a:pt x="1112362" y="703315"/>
                    </a:lnTo>
                    <a:lnTo>
                      <a:pt x="1114175" y="691529"/>
                    </a:lnTo>
                    <a:lnTo>
                      <a:pt x="1115762" y="679516"/>
                    </a:lnTo>
                    <a:lnTo>
                      <a:pt x="1117122" y="667503"/>
                    </a:lnTo>
                    <a:lnTo>
                      <a:pt x="1118256" y="655717"/>
                    </a:lnTo>
                    <a:lnTo>
                      <a:pt x="1118936" y="643704"/>
                    </a:lnTo>
                    <a:lnTo>
                      <a:pt x="1119389" y="631918"/>
                    </a:lnTo>
                    <a:lnTo>
                      <a:pt x="1119389" y="619905"/>
                    </a:lnTo>
                    <a:lnTo>
                      <a:pt x="1119389" y="607666"/>
                    </a:lnTo>
                    <a:lnTo>
                      <a:pt x="1118936" y="595880"/>
                    </a:lnTo>
                    <a:lnTo>
                      <a:pt x="1118256" y="583867"/>
                    </a:lnTo>
                    <a:lnTo>
                      <a:pt x="1117122" y="571854"/>
                    </a:lnTo>
                    <a:lnTo>
                      <a:pt x="1115762" y="560068"/>
                    </a:lnTo>
                    <a:lnTo>
                      <a:pt x="1114175" y="548055"/>
                    </a:lnTo>
                    <a:lnTo>
                      <a:pt x="1112362" y="536269"/>
                    </a:lnTo>
                    <a:lnTo>
                      <a:pt x="1110321" y="524256"/>
                    </a:lnTo>
                    <a:lnTo>
                      <a:pt x="1107828" y="512470"/>
                    </a:lnTo>
                    <a:lnTo>
                      <a:pt x="1105108" y="500911"/>
                    </a:lnTo>
                    <a:lnTo>
                      <a:pt x="1102161" y="489125"/>
                    </a:lnTo>
                    <a:lnTo>
                      <a:pt x="1098760" y="477565"/>
                    </a:lnTo>
                    <a:lnTo>
                      <a:pt x="1095360" y="466006"/>
                    </a:lnTo>
                    <a:lnTo>
                      <a:pt x="1091280" y="454673"/>
                    </a:lnTo>
                    <a:lnTo>
                      <a:pt x="1087426" y="443114"/>
                    </a:lnTo>
                    <a:lnTo>
                      <a:pt x="1082892" y="431554"/>
                    </a:lnTo>
                    <a:lnTo>
                      <a:pt x="1078132" y="420448"/>
                    </a:lnTo>
                    <a:lnTo>
                      <a:pt x="1073144" y="409342"/>
                    </a:lnTo>
                    <a:lnTo>
                      <a:pt x="1067931" y="398462"/>
                    </a:lnTo>
                    <a:lnTo>
                      <a:pt x="1062263" y="387583"/>
                    </a:lnTo>
                    <a:lnTo>
                      <a:pt x="1056370" y="376703"/>
                    </a:lnTo>
                    <a:lnTo>
                      <a:pt x="1050249" y="366050"/>
                    </a:lnTo>
                    <a:lnTo>
                      <a:pt x="1043902" y="355397"/>
                    </a:lnTo>
                    <a:lnTo>
                      <a:pt x="1037101" y="344971"/>
                    </a:lnTo>
                    <a:lnTo>
                      <a:pt x="1030074" y="334545"/>
                    </a:lnTo>
                    <a:lnTo>
                      <a:pt x="1022820" y="324346"/>
                    </a:lnTo>
                    <a:lnTo>
                      <a:pt x="1015339" y="314373"/>
                    </a:lnTo>
                    <a:lnTo>
                      <a:pt x="1007405" y="304400"/>
                    </a:lnTo>
                    <a:lnTo>
                      <a:pt x="999244" y="294654"/>
                    </a:lnTo>
                    <a:lnTo>
                      <a:pt x="990856" y="285134"/>
                    </a:lnTo>
                    <a:lnTo>
                      <a:pt x="982016" y="275614"/>
                    </a:lnTo>
                    <a:lnTo>
                      <a:pt x="972948" y="266548"/>
                    </a:lnTo>
                    <a:lnTo>
                      <a:pt x="963880" y="257482"/>
                    </a:lnTo>
                    <a:lnTo>
                      <a:pt x="954586" y="248869"/>
                    </a:lnTo>
                    <a:lnTo>
                      <a:pt x="944839" y="240483"/>
                    </a:lnTo>
                    <a:lnTo>
                      <a:pt x="935091" y="232323"/>
                    </a:lnTo>
                    <a:lnTo>
                      <a:pt x="925343" y="224163"/>
                    </a:lnTo>
                    <a:lnTo>
                      <a:pt x="915142" y="216684"/>
                    </a:lnTo>
                    <a:lnTo>
                      <a:pt x="904941" y="209431"/>
                    </a:lnTo>
                    <a:lnTo>
                      <a:pt x="894740" y="202631"/>
                    </a:lnTo>
                    <a:lnTo>
                      <a:pt x="884086" y="195831"/>
                    </a:lnTo>
                    <a:lnTo>
                      <a:pt x="873658" y="189485"/>
                    </a:lnTo>
                    <a:lnTo>
                      <a:pt x="862777" y="183139"/>
                    </a:lnTo>
                    <a:lnTo>
                      <a:pt x="852123" y="177246"/>
                    </a:lnTo>
                    <a:lnTo>
                      <a:pt x="841015" y="171579"/>
                    </a:lnTo>
                    <a:lnTo>
                      <a:pt x="830134" y="166593"/>
                    </a:lnTo>
                    <a:lnTo>
                      <a:pt x="819026" y="161380"/>
                    </a:lnTo>
                    <a:lnTo>
                      <a:pt x="807692" y="156620"/>
                    </a:lnTo>
                    <a:lnTo>
                      <a:pt x="796358" y="152313"/>
                    </a:lnTo>
                    <a:lnTo>
                      <a:pt x="785023" y="148234"/>
                    </a:lnTo>
                    <a:lnTo>
                      <a:pt x="773462" y="144380"/>
                    </a:lnTo>
                    <a:lnTo>
                      <a:pt x="762128" y="140754"/>
                    </a:lnTo>
                    <a:lnTo>
                      <a:pt x="750340" y="137581"/>
                    </a:lnTo>
                    <a:lnTo>
                      <a:pt x="738779" y="134407"/>
                    </a:lnTo>
                    <a:lnTo>
                      <a:pt x="726991" y="131688"/>
                    </a:lnTo>
                    <a:lnTo>
                      <a:pt x="715203" y="129421"/>
                    </a:lnTo>
                    <a:lnTo>
                      <a:pt x="703415" y="127154"/>
                    </a:lnTo>
                    <a:lnTo>
                      <a:pt x="691401" y="125341"/>
                    </a:lnTo>
                    <a:lnTo>
                      <a:pt x="679613" y="123755"/>
                    </a:lnTo>
                    <a:lnTo>
                      <a:pt x="667598" y="122621"/>
                    </a:lnTo>
                    <a:lnTo>
                      <a:pt x="655584" y="121488"/>
                    </a:lnTo>
                    <a:lnTo>
                      <a:pt x="643796" y="120581"/>
                    </a:lnTo>
                    <a:lnTo>
                      <a:pt x="631782" y="120128"/>
                    </a:lnTo>
                    <a:lnTo>
                      <a:pt x="619540" y="120128"/>
                    </a:lnTo>
                    <a:lnTo>
                      <a:pt x="607752" y="120128"/>
                    </a:lnTo>
                    <a:close/>
                    <a:moveTo>
                      <a:pt x="619540" y="0"/>
                    </a:moveTo>
                    <a:lnTo>
                      <a:pt x="634502" y="227"/>
                    </a:lnTo>
                    <a:lnTo>
                      <a:pt x="649690" y="907"/>
                    </a:lnTo>
                    <a:lnTo>
                      <a:pt x="664198" y="1587"/>
                    </a:lnTo>
                    <a:lnTo>
                      <a:pt x="678933" y="3173"/>
                    </a:lnTo>
                    <a:lnTo>
                      <a:pt x="694121" y="4533"/>
                    </a:lnTo>
                    <a:lnTo>
                      <a:pt x="708629" y="6573"/>
                    </a:lnTo>
                    <a:lnTo>
                      <a:pt x="723364" y="8840"/>
                    </a:lnTo>
                    <a:lnTo>
                      <a:pt x="738098" y="11560"/>
                    </a:lnTo>
                    <a:lnTo>
                      <a:pt x="752607" y="14506"/>
                    </a:lnTo>
                    <a:lnTo>
                      <a:pt x="767115" y="17906"/>
                    </a:lnTo>
                    <a:lnTo>
                      <a:pt x="781623" y="21533"/>
                    </a:lnTo>
                    <a:lnTo>
                      <a:pt x="796131" y="25839"/>
                    </a:lnTo>
                    <a:lnTo>
                      <a:pt x="810412" y="30146"/>
                    </a:lnTo>
                    <a:lnTo>
                      <a:pt x="824694" y="34905"/>
                    </a:lnTo>
                    <a:lnTo>
                      <a:pt x="838975" y="40118"/>
                    </a:lnTo>
                    <a:lnTo>
                      <a:pt x="853030" y="45558"/>
                    </a:lnTo>
                    <a:lnTo>
                      <a:pt x="866858" y="51451"/>
                    </a:lnTo>
                    <a:lnTo>
                      <a:pt x="880686" y="57571"/>
                    </a:lnTo>
                    <a:lnTo>
                      <a:pt x="894514" y="64144"/>
                    </a:lnTo>
                    <a:lnTo>
                      <a:pt x="907888" y="71170"/>
                    </a:lnTo>
                    <a:lnTo>
                      <a:pt x="921263" y="78423"/>
                    </a:lnTo>
                    <a:lnTo>
                      <a:pt x="934638" y="85903"/>
                    </a:lnTo>
                    <a:lnTo>
                      <a:pt x="947786" y="93836"/>
                    </a:lnTo>
                    <a:lnTo>
                      <a:pt x="960934" y="102222"/>
                    </a:lnTo>
                    <a:lnTo>
                      <a:pt x="973401" y="110835"/>
                    </a:lnTo>
                    <a:lnTo>
                      <a:pt x="986096" y="119901"/>
                    </a:lnTo>
                    <a:lnTo>
                      <a:pt x="998791" y="129421"/>
                    </a:lnTo>
                    <a:lnTo>
                      <a:pt x="1010805" y="139167"/>
                    </a:lnTo>
                    <a:lnTo>
                      <a:pt x="1023046" y="149140"/>
                    </a:lnTo>
                    <a:lnTo>
                      <a:pt x="1034607" y="159793"/>
                    </a:lnTo>
                    <a:lnTo>
                      <a:pt x="1046395" y="170446"/>
                    </a:lnTo>
                    <a:lnTo>
                      <a:pt x="1057956" y="181779"/>
                    </a:lnTo>
                    <a:lnTo>
                      <a:pt x="1067251" y="191072"/>
                    </a:lnTo>
                    <a:lnTo>
                      <a:pt x="1076318" y="200591"/>
                    </a:lnTo>
                    <a:lnTo>
                      <a:pt x="1084932" y="210564"/>
                    </a:lnTo>
                    <a:lnTo>
                      <a:pt x="1093546" y="220310"/>
                    </a:lnTo>
                    <a:lnTo>
                      <a:pt x="1101934" y="230283"/>
                    </a:lnTo>
                    <a:lnTo>
                      <a:pt x="1110095" y="240709"/>
                    </a:lnTo>
                    <a:lnTo>
                      <a:pt x="1117802" y="250909"/>
                    </a:lnTo>
                    <a:lnTo>
                      <a:pt x="1125510" y="261108"/>
                    </a:lnTo>
                    <a:lnTo>
                      <a:pt x="1132764" y="271988"/>
                    </a:lnTo>
                    <a:lnTo>
                      <a:pt x="1139791" y="282414"/>
                    </a:lnTo>
                    <a:lnTo>
                      <a:pt x="1146592" y="293294"/>
                    </a:lnTo>
                    <a:lnTo>
                      <a:pt x="1153166" y="304173"/>
                    </a:lnTo>
                    <a:lnTo>
                      <a:pt x="1159513" y="315279"/>
                    </a:lnTo>
                    <a:lnTo>
                      <a:pt x="1165634" y="326159"/>
                    </a:lnTo>
                    <a:lnTo>
                      <a:pt x="1171527" y="337492"/>
                    </a:lnTo>
                    <a:lnTo>
                      <a:pt x="1177195" y="348598"/>
                    </a:lnTo>
                    <a:lnTo>
                      <a:pt x="1182408" y="360157"/>
                    </a:lnTo>
                    <a:lnTo>
                      <a:pt x="1187622" y="371490"/>
                    </a:lnTo>
                    <a:lnTo>
                      <a:pt x="1192610" y="383050"/>
                    </a:lnTo>
                    <a:lnTo>
                      <a:pt x="1197143" y="394609"/>
                    </a:lnTo>
                    <a:lnTo>
                      <a:pt x="1201677" y="406395"/>
                    </a:lnTo>
                    <a:lnTo>
                      <a:pt x="1205984" y="418181"/>
                    </a:lnTo>
                    <a:lnTo>
                      <a:pt x="1209611" y="429741"/>
                    </a:lnTo>
                    <a:lnTo>
                      <a:pt x="1213465" y="441754"/>
                    </a:lnTo>
                    <a:lnTo>
                      <a:pt x="1216865" y="453540"/>
                    </a:lnTo>
                    <a:lnTo>
                      <a:pt x="1219812" y="465552"/>
                    </a:lnTo>
                    <a:lnTo>
                      <a:pt x="1222986" y="477792"/>
                    </a:lnTo>
                    <a:lnTo>
                      <a:pt x="1225706" y="489578"/>
                    </a:lnTo>
                    <a:lnTo>
                      <a:pt x="1228200" y="501818"/>
                    </a:lnTo>
                    <a:lnTo>
                      <a:pt x="1230240" y="514057"/>
                    </a:lnTo>
                    <a:lnTo>
                      <a:pt x="1232280" y="526070"/>
                    </a:lnTo>
                    <a:lnTo>
                      <a:pt x="1233867" y="538536"/>
                    </a:lnTo>
                    <a:lnTo>
                      <a:pt x="1235680" y="550775"/>
                    </a:lnTo>
                    <a:lnTo>
                      <a:pt x="1236814" y="563015"/>
                    </a:lnTo>
                    <a:lnTo>
                      <a:pt x="1237720" y="575254"/>
                    </a:lnTo>
                    <a:lnTo>
                      <a:pt x="1238401" y="587720"/>
                    </a:lnTo>
                    <a:lnTo>
                      <a:pt x="1239081" y="599733"/>
                    </a:lnTo>
                    <a:lnTo>
                      <a:pt x="1239307" y="612199"/>
                    </a:lnTo>
                    <a:lnTo>
                      <a:pt x="1239307" y="624665"/>
                    </a:lnTo>
                    <a:lnTo>
                      <a:pt x="1239081" y="636678"/>
                    </a:lnTo>
                    <a:lnTo>
                      <a:pt x="1238627" y="649144"/>
                    </a:lnTo>
                    <a:lnTo>
                      <a:pt x="1237947" y="661610"/>
                    </a:lnTo>
                    <a:lnTo>
                      <a:pt x="1237040" y="673623"/>
                    </a:lnTo>
                    <a:lnTo>
                      <a:pt x="1235907" y="686089"/>
                    </a:lnTo>
                    <a:lnTo>
                      <a:pt x="1234320" y="698102"/>
                    </a:lnTo>
                    <a:lnTo>
                      <a:pt x="1232507" y="710341"/>
                    </a:lnTo>
                    <a:lnTo>
                      <a:pt x="1230693" y="722807"/>
                    </a:lnTo>
                    <a:lnTo>
                      <a:pt x="1228653" y="734820"/>
                    </a:lnTo>
                    <a:lnTo>
                      <a:pt x="1226159" y="746833"/>
                    </a:lnTo>
                    <a:lnTo>
                      <a:pt x="1223439" y="759073"/>
                    </a:lnTo>
                    <a:lnTo>
                      <a:pt x="1220719" y="771085"/>
                    </a:lnTo>
                    <a:lnTo>
                      <a:pt x="1217545" y="783098"/>
                    </a:lnTo>
                    <a:lnTo>
                      <a:pt x="1214145" y="795111"/>
                    </a:lnTo>
                    <a:lnTo>
                      <a:pt x="1210518" y="806897"/>
                    </a:lnTo>
                    <a:lnTo>
                      <a:pt x="1206664" y="818683"/>
                    </a:lnTo>
                    <a:lnTo>
                      <a:pt x="1202357" y="830469"/>
                    </a:lnTo>
                    <a:lnTo>
                      <a:pt x="1198277" y="842255"/>
                    </a:lnTo>
                    <a:lnTo>
                      <a:pt x="1193516" y="853588"/>
                    </a:lnTo>
                    <a:lnTo>
                      <a:pt x="1188529" y="865374"/>
                    </a:lnTo>
                    <a:lnTo>
                      <a:pt x="1183769" y="876934"/>
                    </a:lnTo>
                    <a:lnTo>
                      <a:pt x="1178328" y="888267"/>
                    </a:lnTo>
                    <a:lnTo>
                      <a:pt x="1172661" y="899599"/>
                    </a:lnTo>
                    <a:lnTo>
                      <a:pt x="1166767" y="910706"/>
                    </a:lnTo>
                    <a:lnTo>
                      <a:pt x="1160646" y="921812"/>
                    </a:lnTo>
                    <a:lnTo>
                      <a:pt x="1534229" y="1295115"/>
                    </a:lnTo>
                    <a:lnTo>
                      <a:pt x="1540350" y="1301461"/>
                    </a:lnTo>
                    <a:lnTo>
                      <a:pt x="1545790" y="1308034"/>
                    </a:lnTo>
                    <a:lnTo>
                      <a:pt x="1551231" y="1314607"/>
                    </a:lnTo>
                    <a:lnTo>
                      <a:pt x="1556445" y="1321407"/>
                    </a:lnTo>
                    <a:lnTo>
                      <a:pt x="1560752" y="1328433"/>
                    </a:lnTo>
                    <a:lnTo>
                      <a:pt x="1565286" y="1335460"/>
                    </a:lnTo>
                    <a:lnTo>
                      <a:pt x="1569366" y="1342713"/>
                    </a:lnTo>
                    <a:lnTo>
                      <a:pt x="1572766" y="1349966"/>
                    </a:lnTo>
                    <a:lnTo>
                      <a:pt x="1576167" y="1357219"/>
                    </a:lnTo>
                    <a:lnTo>
                      <a:pt x="1578887" y="1364698"/>
                    </a:lnTo>
                    <a:lnTo>
                      <a:pt x="1581381" y="1372178"/>
                    </a:lnTo>
                    <a:lnTo>
                      <a:pt x="1583648" y="1379658"/>
                    </a:lnTo>
                    <a:lnTo>
                      <a:pt x="1585461" y="1387137"/>
                    </a:lnTo>
                    <a:lnTo>
                      <a:pt x="1586821" y="1394617"/>
                    </a:lnTo>
                    <a:lnTo>
                      <a:pt x="1587955" y="1402323"/>
                    </a:lnTo>
                    <a:lnTo>
                      <a:pt x="1588635" y="1409803"/>
                    </a:lnTo>
                    <a:lnTo>
                      <a:pt x="1589088" y="1417283"/>
                    </a:lnTo>
                    <a:lnTo>
                      <a:pt x="1589088" y="1424762"/>
                    </a:lnTo>
                    <a:lnTo>
                      <a:pt x="1588861" y="1432242"/>
                    </a:lnTo>
                    <a:lnTo>
                      <a:pt x="1588181" y="1439495"/>
                    </a:lnTo>
                    <a:lnTo>
                      <a:pt x="1587274" y="1446748"/>
                    </a:lnTo>
                    <a:lnTo>
                      <a:pt x="1585914" y="1454001"/>
                    </a:lnTo>
                    <a:lnTo>
                      <a:pt x="1584101" y="1461027"/>
                    </a:lnTo>
                    <a:lnTo>
                      <a:pt x="1581834" y="1467827"/>
                    </a:lnTo>
                    <a:lnTo>
                      <a:pt x="1579340" y="1474627"/>
                    </a:lnTo>
                    <a:lnTo>
                      <a:pt x="1576620" y="1481200"/>
                    </a:lnTo>
                    <a:lnTo>
                      <a:pt x="1573220" y="1487773"/>
                    </a:lnTo>
                    <a:lnTo>
                      <a:pt x="1569593" y="1494119"/>
                    </a:lnTo>
                    <a:lnTo>
                      <a:pt x="1565512" y="1500239"/>
                    </a:lnTo>
                    <a:lnTo>
                      <a:pt x="1561432" y="1506132"/>
                    </a:lnTo>
                    <a:lnTo>
                      <a:pt x="1556445" y="1511572"/>
                    </a:lnTo>
                    <a:lnTo>
                      <a:pt x="1551231" y="1517011"/>
                    </a:lnTo>
                    <a:lnTo>
                      <a:pt x="1517228" y="1551237"/>
                    </a:lnTo>
                    <a:lnTo>
                      <a:pt x="1511787" y="1556223"/>
                    </a:lnTo>
                    <a:lnTo>
                      <a:pt x="1506120" y="1561209"/>
                    </a:lnTo>
                    <a:lnTo>
                      <a:pt x="1500226" y="1565516"/>
                    </a:lnTo>
                    <a:lnTo>
                      <a:pt x="1494106" y="1569369"/>
                    </a:lnTo>
                    <a:lnTo>
                      <a:pt x="1487985" y="1573222"/>
                    </a:lnTo>
                    <a:lnTo>
                      <a:pt x="1481411" y="1576395"/>
                    </a:lnTo>
                    <a:lnTo>
                      <a:pt x="1474837" y="1579342"/>
                    </a:lnTo>
                    <a:lnTo>
                      <a:pt x="1468036" y="1581835"/>
                    </a:lnTo>
                    <a:lnTo>
                      <a:pt x="1461009" y="1583875"/>
                    </a:lnTo>
                    <a:lnTo>
                      <a:pt x="1453982" y="1585688"/>
                    </a:lnTo>
                    <a:lnTo>
                      <a:pt x="1446728" y="1587275"/>
                    </a:lnTo>
                    <a:lnTo>
                      <a:pt x="1439474" y="1588182"/>
                    </a:lnTo>
                    <a:lnTo>
                      <a:pt x="1432219" y="1588862"/>
                    </a:lnTo>
                    <a:lnTo>
                      <a:pt x="1424739" y="1589088"/>
                    </a:lnTo>
                    <a:lnTo>
                      <a:pt x="1417258" y="1589088"/>
                    </a:lnTo>
                    <a:lnTo>
                      <a:pt x="1409777" y="1588862"/>
                    </a:lnTo>
                    <a:lnTo>
                      <a:pt x="1402296" y="1587955"/>
                    </a:lnTo>
                    <a:lnTo>
                      <a:pt x="1394589" y="1587048"/>
                    </a:lnTo>
                    <a:lnTo>
                      <a:pt x="1387108" y="1585235"/>
                    </a:lnTo>
                    <a:lnTo>
                      <a:pt x="1379628" y="1583422"/>
                    </a:lnTo>
                    <a:lnTo>
                      <a:pt x="1372147" y="1581382"/>
                    </a:lnTo>
                    <a:lnTo>
                      <a:pt x="1364666" y="1578662"/>
                    </a:lnTo>
                    <a:lnTo>
                      <a:pt x="1357186" y="1575942"/>
                    </a:lnTo>
                    <a:lnTo>
                      <a:pt x="1349931" y="1572769"/>
                    </a:lnTo>
                    <a:lnTo>
                      <a:pt x="1342677" y="1569142"/>
                    </a:lnTo>
                    <a:lnTo>
                      <a:pt x="1335423" y="1565289"/>
                    </a:lnTo>
                    <a:lnTo>
                      <a:pt x="1328396" y="1560756"/>
                    </a:lnTo>
                    <a:lnTo>
                      <a:pt x="1321369" y="1556223"/>
                    </a:lnTo>
                    <a:lnTo>
                      <a:pt x="1314568" y="1551237"/>
                    </a:lnTo>
                    <a:lnTo>
                      <a:pt x="1307994" y="1545797"/>
                    </a:lnTo>
                    <a:lnTo>
                      <a:pt x="1301420" y="1540130"/>
                    </a:lnTo>
                    <a:lnTo>
                      <a:pt x="1295299" y="1534011"/>
                    </a:lnTo>
                    <a:lnTo>
                      <a:pt x="921716" y="1160708"/>
                    </a:lnTo>
                    <a:lnTo>
                      <a:pt x="910835" y="1166827"/>
                    </a:lnTo>
                    <a:lnTo>
                      <a:pt x="899501" y="1172720"/>
                    </a:lnTo>
                    <a:lnTo>
                      <a:pt x="888166" y="1178160"/>
                    </a:lnTo>
                    <a:lnTo>
                      <a:pt x="876832" y="1183600"/>
                    </a:lnTo>
                    <a:lnTo>
                      <a:pt x="865498" y="1188586"/>
                    </a:lnTo>
                    <a:lnTo>
                      <a:pt x="853710" y="1193346"/>
                    </a:lnTo>
                    <a:lnTo>
                      <a:pt x="842375" y="1198106"/>
                    </a:lnTo>
                    <a:lnTo>
                      <a:pt x="830588" y="1202412"/>
                    </a:lnTo>
                    <a:lnTo>
                      <a:pt x="818573" y="1206492"/>
                    </a:lnTo>
                    <a:lnTo>
                      <a:pt x="807012" y="1210572"/>
                    </a:lnTo>
                    <a:lnTo>
                      <a:pt x="794997" y="1213972"/>
                    </a:lnTo>
                    <a:lnTo>
                      <a:pt x="783210" y="1217598"/>
                    </a:lnTo>
                    <a:lnTo>
                      <a:pt x="771195" y="1220545"/>
                    </a:lnTo>
                    <a:lnTo>
                      <a:pt x="758954" y="1223265"/>
                    </a:lnTo>
                    <a:lnTo>
                      <a:pt x="746939" y="1226211"/>
                    </a:lnTo>
                    <a:lnTo>
                      <a:pt x="734698" y="1228478"/>
                    </a:lnTo>
                    <a:lnTo>
                      <a:pt x="722457" y="1230518"/>
                    </a:lnTo>
                    <a:lnTo>
                      <a:pt x="710442" y="1232784"/>
                    </a:lnTo>
                    <a:lnTo>
                      <a:pt x="698201" y="1234371"/>
                    </a:lnTo>
                    <a:lnTo>
                      <a:pt x="685960" y="1235731"/>
                    </a:lnTo>
                    <a:lnTo>
                      <a:pt x="673719" y="1236864"/>
                    </a:lnTo>
                    <a:lnTo>
                      <a:pt x="661478" y="1237771"/>
                    </a:lnTo>
                    <a:lnTo>
                      <a:pt x="649010" y="1238451"/>
                    </a:lnTo>
                    <a:lnTo>
                      <a:pt x="636769" y="1239131"/>
                    </a:lnTo>
                    <a:lnTo>
                      <a:pt x="624527" y="1239357"/>
                    </a:lnTo>
                    <a:lnTo>
                      <a:pt x="612060" y="1239357"/>
                    </a:lnTo>
                    <a:lnTo>
                      <a:pt x="599818" y="1239131"/>
                    </a:lnTo>
                    <a:lnTo>
                      <a:pt x="587577" y="1238451"/>
                    </a:lnTo>
                    <a:lnTo>
                      <a:pt x="575109" y="1237544"/>
                    </a:lnTo>
                    <a:lnTo>
                      <a:pt x="562868" y="1236638"/>
                    </a:lnTo>
                    <a:lnTo>
                      <a:pt x="550627" y="1235504"/>
                    </a:lnTo>
                    <a:lnTo>
                      <a:pt x="538612" y="1233918"/>
                    </a:lnTo>
                    <a:lnTo>
                      <a:pt x="526145" y="1232331"/>
                    </a:lnTo>
                    <a:lnTo>
                      <a:pt x="513903" y="1230291"/>
                    </a:lnTo>
                    <a:lnTo>
                      <a:pt x="501889" y="1228025"/>
                    </a:lnTo>
                    <a:lnTo>
                      <a:pt x="489648" y="1225758"/>
                    </a:lnTo>
                    <a:lnTo>
                      <a:pt x="477633" y="1222811"/>
                    </a:lnTo>
                    <a:lnTo>
                      <a:pt x="465619" y="1219865"/>
                    </a:lnTo>
                    <a:lnTo>
                      <a:pt x="453604" y="1216918"/>
                    </a:lnTo>
                    <a:lnTo>
                      <a:pt x="441590" y="1213292"/>
                    </a:lnTo>
                    <a:lnTo>
                      <a:pt x="429802" y="1209665"/>
                    </a:lnTo>
                    <a:lnTo>
                      <a:pt x="418014" y="1205812"/>
                    </a:lnTo>
                    <a:lnTo>
                      <a:pt x="406453" y="1201506"/>
                    </a:lnTo>
                    <a:lnTo>
                      <a:pt x="394665" y="1197199"/>
                    </a:lnTo>
                    <a:lnTo>
                      <a:pt x="383104" y="1192440"/>
                    </a:lnTo>
                    <a:lnTo>
                      <a:pt x="371543" y="1187680"/>
                    </a:lnTo>
                    <a:lnTo>
                      <a:pt x="359982" y="1182467"/>
                    </a:lnTo>
                    <a:lnTo>
                      <a:pt x="348647" y="1177027"/>
                    </a:lnTo>
                    <a:lnTo>
                      <a:pt x="337313" y="1171360"/>
                    </a:lnTo>
                    <a:lnTo>
                      <a:pt x="326205" y="1165694"/>
                    </a:lnTo>
                    <a:lnTo>
                      <a:pt x="315097" y="1159574"/>
                    </a:lnTo>
                    <a:lnTo>
                      <a:pt x="304216" y="1153228"/>
                    </a:lnTo>
                    <a:lnTo>
                      <a:pt x="293109" y="1146655"/>
                    </a:lnTo>
                    <a:lnTo>
                      <a:pt x="282454" y="1139629"/>
                    </a:lnTo>
                    <a:lnTo>
                      <a:pt x="272026" y="1132602"/>
                    </a:lnTo>
                    <a:lnTo>
                      <a:pt x="261145" y="1125349"/>
                    </a:lnTo>
                    <a:lnTo>
                      <a:pt x="250944" y="1117643"/>
                    </a:lnTo>
                    <a:lnTo>
                      <a:pt x="240517" y="1109937"/>
                    </a:lnTo>
                    <a:lnTo>
                      <a:pt x="230316" y="1101777"/>
                    </a:lnTo>
                    <a:lnTo>
                      <a:pt x="220341" y="1093617"/>
                    </a:lnTo>
                    <a:lnTo>
                      <a:pt x="210367" y="1085004"/>
                    </a:lnTo>
                    <a:lnTo>
                      <a:pt x="200620" y="1076391"/>
                    </a:lnTo>
                    <a:lnTo>
                      <a:pt x="191099" y="1067099"/>
                    </a:lnTo>
                    <a:lnTo>
                      <a:pt x="181578" y="1057806"/>
                    </a:lnTo>
                    <a:lnTo>
                      <a:pt x="170470" y="1046473"/>
                    </a:lnTo>
                    <a:lnTo>
                      <a:pt x="159589" y="1034913"/>
                    </a:lnTo>
                    <a:lnTo>
                      <a:pt x="149161" y="1022901"/>
                    </a:lnTo>
                    <a:lnTo>
                      <a:pt x="139187" y="1010888"/>
                    </a:lnTo>
                    <a:lnTo>
                      <a:pt x="129213" y="998648"/>
                    </a:lnTo>
                    <a:lnTo>
                      <a:pt x="119918" y="985956"/>
                    </a:lnTo>
                    <a:lnTo>
                      <a:pt x="110851" y="973489"/>
                    </a:lnTo>
                    <a:lnTo>
                      <a:pt x="102237" y="960797"/>
                    </a:lnTo>
                    <a:lnTo>
                      <a:pt x="93849" y="947651"/>
                    </a:lnTo>
                    <a:lnTo>
                      <a:pt x="85688" y="934505"/>
                    </a:lnTo>
                    <a:lnTo>
                      <a:pt x="78208" y="921358"/>
                    </a:lnTo>
                    <a:lnTo>
                      <a:pt x="70954" y="907986"/>
                    </a:lnTo>
                    <a:lnTo>
                      <a:pt x="64153" y="894386"/>
                    </a:lnTo>
                    <a:lnTo>
                      <a:pt x="57579" y="880560"/>
                    </a:lnTo>
                    <a:lnTo>
                      <a:pt x="51232" y="866734"/>
                    </a:lnTo>
                    <a:lnTo>
                      <a:pt x="45338" y="852908"/>
                    </a:lnTo>
                    <a:lnTo>
                      <a:pt x="39897" y="838856"/>
                    </a:lnTo>
                    <a:lnTo>
                      <a:pt x="34910" y="824803"/>
                    </a:lnTo>
                    <a:lnTo>
                      <a:pt x="30150" y="810524"/>
                    </a:lnTo>
                    <a:lnTo>
                      <a:pt x="25616" y="796244"/>
                    </a:lnTo>
                    <a:lnTo>
                      <a:pt x="21535" y="781738"/>
                    </a:lnTo>
                    <a:lnTo>
                      <a:pt x="17682" y="767232"/>
                    </a:lnTo>
                    <a:lnTo>
                      <a:pt x="14508" y="752726"/>
                    </a:lnTo>
                    <a:lnTo>
                      <a:pt x="11334" y="738220"/>
                    </a:lnTo>
                    <a:lnTo>
                      <a:pt x="8841" y="723487"/>
                    </a:lnTo>
                    <a:lnTo>
                      <a:pt x="6574" y="708755"/>
                    </a:lnTo>
                    <a:lnTo>
                      <a:pt x="4307" y="694022"/>
                    </a:lnTo>
                    <a:lnTo>
                      <a:pt x="2947" y="679289"/>
                    </a:lnTo>
                    <a:lnTo>
                      <a:pt x="1587" y="664330"/>
                    </a:lnTo>
                    <a:lnTo>
                      <a:pt x="680" y="649597"/>
                    </a:lnTo>
                    <a:lnTo>
                      <a:pt x="227" y="634638"/>
                    </a:lnTo>
                    <a:lnTo>
                      <a:pt x="0" y="619905"/>
                    </a:lnTo>
                    <a:lnTo>
                      <a:pt x="227" y="604946"/>
                    </a:lnTo>
                    <a:lnTo>
                      <a:pt x="680" y="589987"/>
                    </a:lnTo>
                    <a:lnTo>
                      <a:pt x="1587" y="575254"/>
                    </a:lnTo>
                    <a:lnTo>
                      <a:pt x="2947" y="560295"/>
                    </a:lnTo>
                    <a:lnTo>
                      <a:pt x="4307" y="545562"/>
                    </a:lnTo>
                    <a:lnTo>
                      <a:pt x="6574" y="530830"/>
                    </a:lnTo>
                    <a:lnTo>
                      <a:pt x="8841" y="516097"/>
                    </a:lnTo>
                    <a:lnTo>
                      <a:pt x="11334" y="501364"/>
                    </a:lnTo>
                    <a:lnTo>
                      <a:pt x="14508" y="486858"/>
                    </a:lnTo>
                    <a:lnTo>
                      <a:pt x="17682" y="472352"/>
                    </a:lnTo>
                    <a:lnTo>
                      <a:pt x="21535" y="457846"/>
                    </a:lnTo>
                    <a:lnTo>
                      <a:pt x="25616" y="443340"/>
                    </a:lnTo>
                    <a:lnTo>
                      <a:pt x="30150" y="429061"/>
                    </a:lnTo>
                    <a:lnTo>
                      <a:pt x="34910" y="414781"/>
                    </a:lnTo>
                    <a:lnTo>
                      <a:pt x="39897" y="400502"/>
                    </a:lnTo>
                    <a:lnTo>
                      <a:pt x="45338" y="386449"/>
                    </a:lnTo>
                    <a:lnTo>
                      <a:pt x="51232" y="372850"/>
                    </a:lnTo>
                    <a:lnTo>
                      <a:pt x="57579" y="359024"/>
                    </a:lnTo>
                    <a:lnTo>
                      <a:pt x="64153" y="345198"/>
                    </a:lnTo>
                    <a:lnTo>
                      <a:pt x="70954" y="331599"/>
                    </a:lnTo>
                    <a:lnTo>
                      <a:pt x="78208" y="318226"/>
                    </a:lnTo>
                    <a:lnTo>
                      <a:pt x="85688" y="304853"/>
                    </a:lnTo>
                    <a:lnTo>
                      <a:pt x="93849" y="291934"/>
                    </a:lnTo>
                    <a:lnTo>
                      <a:pt x="102237" y="278788"/>
                    </a:lnTo>
                    <a:lnTo>
                      <a:pt x="110851" y="266095"/>
                    </a:lnTo>
                    <a:lnTo>
                      <a:pt x="119918" y="253402"/>
                    </a:lnTo>
                    <a:lnTo>
                      <a:pt x="129213" y="240936"/>
                    </a:lnTo>
                    <a:lnTo>
                      <a:pt x="139187" y="228697"/>
                    </a:lnTo>
                    <a:lnTo>
                      <a:pt x="149161" y="216457"/>
                    </a:lnTo>
                    <a:lnTo>
                      <a:pt x="159589" y="204671"/>
                    </a:lnTo>
                    <a:lnTo>
                      <a:pt x="170470" y="193111"/>
                    </a:lnTo>
                    <a:lnTo>
                      <a:pt x="181578" y="181779"/>
                    </a:lnTo>
                    <a:lnTo>
                      <a:pt x="193139" y="170446"/>
                    </a:lnTo>
                    <a:lnTo>
                      <a:pt x="204473" y="159793"/>
                    </a:lnTo>
                    <a:lnTo>
                      <a:pt x="216488" y="149140"/>
                    </a:lnTo>
                    <a:lnTo>
                      <a:pt x="228729" y="139167"/>
                    </a:lnTo>
                    <a:lnTo>
                      <a:pt x="240743" y="129421"/>
                    </a:lnTo>
                    <a:lnTo>
                      <a:pt x="253438" y="119901"/>
                    </a:lnTo>
                    <a:lnTo>
                      <a:pt x="266133" y="110835"/>
                    </a:lnTo>
                    <a:lnTo>
                      <a:pt x="278600" y="102222"/>
                    </a:lnTo>
                    <a:lnTo>
                      <a:pt x="291748" y="93836"/>
                    </a:lnTo>
                    <a:lnTo>
                      <a:pt x="304896" y="85903"/>
                    </a:lnTo>
                    <a:lnTo>
                      <a:pt x="318271" y="78423"/>
                    </a:lnTo>
                    <a:lnTo>
                      <a:pt x="331646" y="71170"/>
                    </a:lnTo>
                    <a:lnTo>
                      <a:pt x="345020" y="64144"/>
                    </a:lnTo>
                    <a:lnTo>
                      <a:pt x="358848" y="57571"/>
                    </a:lnTo>
                    <a:lnTo>
                      <a:pt x="372676" y="51451"/>
                    </a:lnTo>
                    <a:lnTo>
                      <a:pt x="386504" y="45558"/>
                    </a:lnTo>
                    <a:lnTo>
                      <a:pt x="400559" y="40118"/>
                    </a:lnTo>
                    <a:lnTo>
                      <a:pt x="414840" y="34905"/>
                    </a:lnTo>
                    <a:lnTo>
                      <a:pt x="429122" y="30146"/>
                    </a:lnTo>
                    <a:lnTo>
                      <a:pt x="443403" y="25839"/>
                    </a:lnTo>
                    <a:lnTo>
                      <a:pt x="457911" y="21533"/>
                    </a:lnTo>
                    <a:lnTo>
                      <a:pt x="472419" y="17906"/>
                    </a:lnTo>
                    <a:lnTo>
                      <a:pt x="486927" y="14506"/>
                    </a:lnTo>
                    <a:lnTo>
                      <a:pt x="501435" y="11560"/>
                    </a:lnTo>
                    <a:lnTo>
                      <a:pt x="515944" y="8840"/>
                    </a:lnTo>
                    <a:lnTo>
                      <a:pt x="530678" y="6573"/>
                    </a:lnTo>
                    <a:lnTo>
                      <a:pt x="545413" y="4533"/>
                    </a:lnTo>
                    <a:lnTo>
                      <a:pt x="560148" y="3173"/>
                    </a:lnTo>
                    <a:lnTo>
                      <a:pt x="575109" y="1587"/>
                    </a:lnTo>
                    <a:lnTo>
                      <a:pt x="589844" y="907"/>
                    </a:lnTo>
                    <a:lnTo>
                      <a:pt x="604806" y="227"/>
                    </a:lnTo>
                    <a:lnTo>
                      <a:pt x="619540" y="0"/>
                    </a:lnTo>
                    <a:close/>
                  </a:path>
                </a:pathLst>
              </a:custGeom>
              <a:solidFill>
                <a:srgbClr val="FFFFFF"/>
              </a:solidFill>
              <a:ln>
                <a:noFill/>
              </a:ln>
            </p:spPr>
            <p:txBody>
              <a:bodyPr wrap="square" lIns="91440" tIns="45720" rIns="91440" bIns="45720" anchor="ctr">
                <a:normAutofit lnSpcReduction="10000"/>
                <a:scene3d>
                  <a:camera prst="orthographicFront"/>
                  <a:lightRig rig="threePt" dir="t"/>
                </a:scene3d>
                <a:sp3d>
                  <a:contourClr>
                    <a:srgbClr val="FFFFFF"/>
                  </a:contourClr>
                </a:sp3d>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sp>
            <p:nvSpPr>
              <p:cNvPr id="20" name="Bullet2"/>
              <p:cNvSpPr txBox="1"/>
              <p:nvPr>
                <p:custDataLst>
                  <p:tags r:id="rId16"/>
                </p:custDataLst>
              </p:nvPr>
            </p:nvSpPr>
            <p:spPr bwMode="auto">
              <a:xfrm>
                <a:off x="3441403" y="4364338"/>
                <a:ext cx="2542477" cy="52118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1">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spcBef>
                    <a:spcPct val="0"/>
                  </a:spcBef>
                  <a:spcAft>
                    <a:spcPts val="0"/>
                  </a:spcAft>
                  <a:buClrTx/>
                  <a:buSzTx/>
                  <a:buFontTx/>
                  <a:buNone/>
                  <a:defRPr/>
                </a:pPr>
                <a:r>
                  <a:rPr kumimoji="0" lang="zh-CN" altLang="en-US" b="1" i="0" u="none" strike="noStrike" kern="1200" cap="none" spc="0" normalizeH="0" baseline="0" noProof="0" dirty="0">
                    <a:ln>
                      <a:noFill/>
                    </a:ln>
                    <a:effectLst/>
                    <a:uLnTx/>
                    <a:uFillTx/>
                  </a:rPr>
                  <a:t>单击此处添加标题</a:t>
                </a:r>
                <a:endParaRPr kumimoji="0" lang="en-US" altLang="zh-CN" b="1" i="0" u="none" strike="noStrike" kern="1200" cap="none" spc="0" normalizeH="0" baseline="0" noProof="0" dirty="0">
                  <a:ln>
                    <a:noFill/>
                  </a:ln>
                  <a:effectLst/>
                  <a:uLnTx/>
                  <a:uFillTx/>
                </a:endParaRPr>
              </a:p>
            </p:txBody>
          </p:sp>
          <p:sp>
            <p:nvSpPr>
              <p:cNvPr id="21" name="Text2"/>
              <p:cNvSpPr/>
              <p:nvPr>
                <p:custDataLst>
                  <p:tags r:id="rId17"/>
                </p:custDataLst>
              </p:nvPr>
            </p:nvSpPr>
            <p:spPr bwMode="auto">
              <a:xfrm>
                <a:off x="3441403" y="4885524"/>
                <a:ext cx="2542477" cy="99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lnSpc>
                    <a:spcPct val="120000"/>
                  </a:lnSpc>
                  <a:spcBef>
                    <a:spcPts val="0"/>
                  </a:spcBef>
                  <a:spcAft>
                    <a:spcPts val="0"/>
                  </a:spcAft>
                  <a:buClrTx/>
                  <a:buSzTx/>
                  <a:buFontTx/>
                  <a:buNone/>
                  <a:defRPr/>
                </a:pPr>
                <a:r>
                  <a:rPr kumimoji="0" sz="1200" i="0" u="none" strike="noStrike" kern="1200" cap="none" spc="0" normalizeH="0" baseline="0" noProof="0">
                    <a:ln>
                      <a:noFill/>
                    </a:ln>
                    <a:effectLst/>
                    <a:uLnTx/>
                    <a:uFillTx/>
                  </a:rPr>
                  <a:t>请输入文本内容请输入文本内容</a:t>
                </a:r>
                <a:endParaRPr kumimoji="0" sz="1200" i="0" u="none" strike="noStrike" kern="1200" cap="none" spc="0" normalizeH="0" baseline="0" noProof="0">
                  <a:ln>
                    <a:noFill/>
                  </a:ln>
                  <a:effectLst/>
                  <a:uLnTx/>
                  <a:uFillTx/>
                </a:endParaRPr>
              </a:p>
            </p:txBody>
          </p:sp>
        </p:grpSp>
        <p:grpSp>
          <p:nvGrpSpPr>
            <p:cNvPr id="7" name="组合 6"/>
            <p:cNvGrpSpPr/>
            <p:nvPr/>
          </p:nvGrpSpPr>
          <p:grpSpPr>
            <a:xfrm>
              <a:off x="6205734" y="2716117"/>
              <a:ext cx="2542477" cy="3163984"/>
              <a:chOff x="6205734" y="2716117"/>
              <a:chExt cx="2542477" cy="3163984"/>
            </a:xfrm>
          </p:grpSpPr>
          <p:sp>
            <p:nvSpPr>
              <p:cNvPr id="14" name="IconBackground3"/>
              <p:cNvSpPr/>
              <p:nvPr>
                <p:custDataLst>
                  <p:tags r:id="rId18"/>
                </p:custDataLst>
              </p:nvPr>
            </p:nvSpPr>
            <p:spPr>
              <a:xfrm flipH="1">
                <a:off x="7064420" y="2716117"/>
                <a:ext cx="833053" cy="83305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sp>
            <p:nvSpPr>
              <p:cNvPr id="15" name="Icon3"/>
              <p:cNvSpPr/>
              <p:nvPr>
                <p:custDataLst>
                  <p:tags r:id="rId19"/>
                </p:custDataLst>
              </p:nvPr>
            </p:nvSpPr>
            <p:spPr bwMode="auto">
              <a:xfrm>
                <a:off x="7292034" y="2944524"/>
                <a:ext cx="377825" cy="376239"/>
              </a:xfrm>
              <a:custGeom>
                <a:avLst/>
                <a:gdLst>
                  <a:gd name="T0" fmla="*/ 984018 w 1589088"/>
                  <a:gd name="T1" fmla="*/ 589506 h 1589088"/>
                  <a:gd name="T2" fmla="*/ 955171 w 1589088"/>
                  <a:gd name="T3" fmla="*/ 645802 h 1589088"/>
                  <a:gd name="T4" fmla="*/ 898294 w 1589088"/>
                  <a:gd name="T5" fmla="*/ 673272 h 1589088"/>
                  <a:gd name="T6" fmla="*/ 881422 w 1589088"/>
                  <a:gd name="T7" fmla="*/ 964824 h 1589088"/>
                  <a:gd name="T8" fmla="*/ 873530 w 1589088"/>
                  <a:gd name="T9" fmla="*/ 1040159 h 1589088"/>
                  <a:gd name="T10" fmla="*/ 824817 w 1589088"/>
                  <a:gd name="T11" fmla="*/ 1084490 h 1589088"/>
                  <a:gd name="T12" fmla="*/ 756238 w 1589088"/>
                  <a:gd name="T13" fmla="*/ 1088026 h 1589088"/>
                  <a:gd name="T14" fmla="*/ 703444 w 1589088"/>
                  <a:gd name="T15" fmla="*/ 1048590 h 1589088"/>
                  <a:gd name="T16" fmla="*/ 686571 w 1589088"/>
                  <a:gd name="T17" fmla="*/ 985493 h 1589088"/>
                  <a:gd name="T18" fmla="*/ 486007 w 1589088"/>
                  <a:gd name="T19" fmla="*/ 893024 h 1589088"/>
                  <a:gd name="T20" fmla="*/ 398106 w 1589088"/>
                  <a:gd name="T21" fmla="*/ 820680 h 1589088"/>
                  <a:gd name="T22" fmla="*/ 402189 w 1589088"/>
                  <a:gd name="T23" fmla="*/ 755134 h 1589088"/>
                  <a:gd name="T24" fmla="*/ 446547 w 1589088"/>
                  <a:gd name="T25" fmla="*/ 706452 h 1589088"/>
                  <a:gd name="T26" fmla="*/ 514037 w 1589088"/>
                  <a:gd name="T27" fmla="*/ 696389 h 1589088"/>
                  <a:gd name="T28" fmla="*/ 570641 w 1589088"/>
                  <a:gd name="T29" fmla="*/ 730385 h 1589088"/>
                  <a:gd name="T30" fmla="*/ 593501 w 1589088"/>
                  <a:gd name="T31" fmla="*/ 794027 h 1589088"/>
                  <a:gd name="T32" fmla="*/ 818558 w 1589088"/>
                  <a:gd name="T33" fmla="*/ 648522 h 1589088"/>
                  <a:gd name="T34" fmla="*/ 785901 w 1589088"/>
                  <a:gd name="T35" fmla="*/ 575091 h 1589088"/>
                  <a:gd name="T36" fmla="*/ 808761 w 1589088"/>
                  <a:gd name="T37" fmla="*/ 511721 h 1589088"/>
                  <a:gd name="T38" fmla="*/ 865365 w 1589088"/>
                  <a:gd name="T39" fmla="*/ 477726 h 1589088"/>
                  <a:gd name="T40" fmla="*/ 728574 w 1589088"/>
                  <a:gd name="T41" fmla="*/ 144010 h 1589088"/>
                  <a:gd name="T42" fmla="*/ 531280 w 1589088"/>
                  <a:gd name="T43" fmla="*/ 182593 h 1589088"/>
                  <a:gd name="T44" fmla="*/ 353281 w 1589088"/>
                  <a:gd name="T45" fmla="*/ 288291 h 1589088"/>
                  <a:gd name="T46" fmla="*/ 219577 w 1589088"/>
                  <a:gd name="T47" fmla="*/ 451592 h 1589088"/>
                  <a:gd name="T48" fmla="*/ 152454 w 1589088"/>
                  <a:gd name="T49" fmla="*/ 642880 h 1589088"/>
                  <a:gd name="T50" fmla="*/ 152454 w 1589088"/>
                  <a:gd name="T51" fmla="*/ 843135 h 1589088"/>
                  <a:gd name="T52" fmla="*/ 219577 w 1589088"/>
                  <a:gd name="T53" fmla="*/ 1034422 h 1589088"/>
                  <a:gd name="T54" fmla="*/ 353281 w 1589088"/>
                  <a:gd name="T55" fmla="*/ 1197724 h 1589088"/>
                  <a:gd name="T56" fmla="*/ 531280 w 1589088"/>
                  <a:gd name="T57" fmla="*/ 1303421 h 1589088"/>
                  <a:gd name="T58" fmla="*/ 728574 w 1589088"/>
                  <a:gd name="T59" fmla="*/ 1341734 h 1589088"/>
                  <a:gd name="T60" fmla="*/ 927227 w 1589088"/>
                  <a:gd name="T61" fmla="*/ 1312931 h 1589088"/>
                  <a:gd name="T62" fmla="*/ 1109302 w 1589088"/>
                  <a:gd name="T63" fmla="*/ 1217015 h 1589088"/>
                  <a:gd name="T64" fmla="*/ 1251431 w 1589088"/>
                  <a:gd name="T65" fmla="*/ 1059964 h 1589088"/>
                  <a:gd name="T66" fmla="*/ 1328065 w 1589088"/>
                  <a:gd name="T67" fmla="*/ 871393 h 1589088"/>
                  <a:gd name="T68" fmla="*/ 1337576 w 1589088"/>
                  <a:gd name="T69" fmla="*/ 671410 h 1589088"/>
                  <a:gd name="T70" fmla="*/ 1280237 w 1589088"/>
                  <a:gd name="T71" fmla="*/ 477677 h 1589088"/>
                  <a:gd name="T72" fmla="*/ 1155500 w 1589088"/>
                  <a:gd name="T73" fmla="*/ 308670 h 1589088"/>
                  <a:gd name="T74" fmla="*/ 981849 w 1589088"/>
                  <a:gd name="T75" fmla="*/ 193462 h 1589088"/>
                  <a:gd name="T76" fmla="*/ 785915 w 1589088"/>
                  <a:gd name="T77" fmla="*/ 145640 h 1589088"/>
                  <a:gd name="T78" fmla="*/ 902226 w 1589088"/>
                  <a:gd name="T79" fmla="*/ 17390 h 1589088"/>
                  <a:gd name="T80" fmla="*/ 1136207 w 1589088"/>
                  <a:gd name="T81" fmla="*/ 112491 h 1589088"/>
                  <a:gd name="T82" fmla="*/ 1320999 w 1589088"/>
                  <a:gd name="T83" fmla="*/ 276063 h 1589088"/>
                  <a:gd name="T84" fmla="*/ 1429702 w 1589088"/>
                  <a:gd name="T85" fmla="*/ 459201 h 1589088"/>
                  <a:gd name="T86" fmla="*/ 1481334 w 1589088"/>
                  <a:gd name="T87" fmla="*/ 660270 h 1589088"/>
                  <a:gd name="T88" fmla="*/ 1475356 w 1589088"/>
                  <a:gd name="T89" fmla="*/ 866502 h 1589088"/>
                  <a:gd name="T90" fmla="*/ 1412581 w 1589088"/>
                  <a:gd name="T91" fmla="*/ 1064855 h 1589088"/>
                  <a:gd name="T92" fmla="*/ 1892771 w 1589088"/>
                  <a:gd name="T93" fmla="*/ 1636001 h 1589088"/>
                  <a:gd name="T94" fmla="*/ 1896304 w 1589088"/>
                  <a:gd name="T95" fmla="*/ 1759632 h 1589088"/>
                  <a:gd name="T96" fmla="*/ 1783798 w 1589088"/>
                  <a:gd name="T97" fmla="*/ 1885980 h 1589088"/>
                  <a:gd name="T98" fmla="*/ 1662866 w 1589088"/>
                  <a:gd name="T99" fmla="*/ 1900381 h 1589088"/>
                  <a:gd name="T100" fmla="*/ 1104954 w 1589088"/>
                  <a:gd name="T101" fmla="*/ 1391458 h 1589088"/>
                  <a:gd name="T102" fmla="*/ 909835 w 1589088"/>
                  <a:gd name="T103" fmla="*/ 1466451 h 1589088"/>
                  <a:gd name="T104" fmla="*/ 704388 w 1589088"/>
                  <a:gd name="T105" fmla="*/ 1484656 h 1589088"/>
                  <a:gd name="T106" fmla="*/ 501116 w 1589088"/>
                  <a:gd name="T107" fmla="*/ 1445528 h 1589088"/>
                  <a:gd name="T108" fmla="*/ 313061 w 1589088"/>
                  <a:gd name="T109" fmla="*/ 1349069 h 1589088"/>
                  <a:gd name="T110" fmla="*/ 143758 w 1589088"/>
                  <a:gd name="T111" fmla="*/ 1181965 h 1589088"/>
                  <a:gd name="T112" fmla="*/ 30708 w 1589088"/>
                  <a:gd name="T113" fmla="*/ 954538 h 1589088"/>
                  <a:gd name="T114" fmla="*/ 815 w 1589088"/>
                  <a:gd name="T115" fmla="*/ 707277 h 1589088"/>
                  <a:gd name="T116" fmla="*/ 54351 w 1589088"/>
                  <a:gd name="T117" fmla="*/ 463275 h 1589088"/>
                  <a:gd name="T118" fmla="*/ 191315 w 1589088"/>
                  <a:gd name="T119" fmla="*/ 245360 h 1589088"/>
                  <a:gd name="T120" fmla="*/ 397577 w 1589088"/>
                  <a:gd name="T121" fmla="*/ 85319 h 1589088"/>
                  <a:gd name="T122" fmla="*/ 636177 w 1589088"/>
                  <a:gd name="T123" fmla="*/ 7880 h 15890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89088" h="1589088">
                    <a:moveTo>
                      <a:pt x="916859" y="288925"/>
                    </a:moveTo>
                    <a:lnTo>
                      <a:pt x="954088" y="332030"/>
                    </a:lnTo>
                    <a:lnTo>
                      <a:pt x="816067" y="450682"/>
                    </a:lnTo>
                    <a:lnTo>
                      <a:pt x="817430" y="454085"/>
                    </a:lnTo>
                    <a:lnTo>
                      <a:pt x="818338" y="457488"/>
                    </a:lnTo>
                    <a:lnTo>
                      <a:pt x="819246" y="461118"/>
                    </a:lnTo>
                    <a:lnTo>
                      <a:pt x="820381" y="464748"/>
                    </a:lnTo>
                    <a:lnTo>
                      <a:pt x="820835" y="468378"/>
                    </a:lnTo>
                    <a:lnTo>
                      <a:pt x="821289" y="472008"/>
                    </a:lnTo>
                    <a:lnTo>
                      <a:pt x="821743" y="475865"/>
                    </a:lnTo>
                    <a:lnTo>
                      <a:pt x="821743" y="479722"/>
                    </a:lnTo>
                    <a:lnTo>
                      <a:pt x="821743" y="483805"/>
                    </a:lnTo>
                    <a:lnTo>
                      <a:pt x="821289" y="487662"/>
                    </a:lnTo>
                    <a:lnTo>
                      <a:pt x="820835" y="491746"/>
                    </a:lnTo>
                    <a:lnTo>
                      <a:pt x="820154" y="495602"/>
                    </a:lnTo>
                    <a:lnTo>
                      <a:pt x="819246" y="499459"/>
                    </a:lnTo>
                    <a:lnTo>
                      <a:pt x="818338" y="503089"/>
                    </a:lnTo>
                    <a:lnTo>
                      <a:pt x="816976" y="506946"/>
                    </a:lnTo>
                    <a:lnTo>
                      <a:pt x="815840" y="510349"/>
                    </a:lnTo>
                    <a:lnTo>
                      <a:pt x="814251" y="513979"/>
                    </a:lnTo>
                    <a:lnTo>
                      <a:pt x="812662" y="517382"/>
                    </a:lnTo>
                    <a:lnTo>
                      <a:pt x="810619" y="520785"/>
                    </a:lnTo>
                    <a:lnTo>
                      <a:pt x="808803" y="523961"/>
                    </a:lnTo>
                    <a:lnTo>
                      <a:pt x="806760" y="527137"/>
                    </a:lnTo>
                    <a:lnTo>
                      <a:pt x="804263" y="530313"/>
                    </a:lnTo>
                    <a:lnTo>
                      <a:pt x="801993" y="533036"/>
                    </a:lnTo>
                    <a:lnTo>
                      <a:pt x="799496" y="535985"/>
                    </a:lnTo>
                    <a:lnTo>
                      <a:pt x="796772" y="538707"/>
                    </a:lnTo>
                    <a:lnTo>
                      <a:pt x="794048" y="541203"/>
                    </a:lnTo>
                    <a:lnTo>
                      <a:pt x="791324" y="543698"/>
                    </a:lnTo>
                    <a:lnTo>
                      <a:pt x="788146" y="545967"/>
                    </a:lnTo>
                    <a:lnTo>
                      <a:pt x="785194" y="548009"/>
                    </a:lnTo>
                    <a:lnTo>
                      <a:pt x="781789" y="550051"/>
                    </a:lnTo>
                    <a:lnTo>
                      <a:pt x="778611" y="552093"/>
                    </a:lnTo>
                    <a:lnTo>
                      <a:pt x="775433" y="553908"/>
                    </a:lnTo>
                    <a:lnTo>
                      <a:pt x="771801" y="555496"/>
                    </a:lnTo>
                    <a:lnTo>
                      <a:pt x="768396" y="556857"/>
                    </a:lnTo>
                    <a:lnTo>
                      <a:pt x="764537" y="558218"/>
                    </a:lnTo>
                    <a:lnTo>
                      <a:pt x="760905" y="559352"/>
                    </a:lnTo>
                    <a:lnTo>
                      <a:pt x="757046" y="560260"/>
                    </a:lnTo>
                    <a:lnTo>
                      <a:pt x="753413" y="560940"/>
                    </a:lnTo>
                    <a:lnTo>
                      <a:pt x="749327" y="561621"/>
                    </a:lnTo>
                    <a:lnTo>
                      <a:pt x="745241" y="562075"/>
                    </a:lnTo>
                    <a:lnTo>
                      <a:pt x="692121" y="754005"/>
                    </a:lnTo>
                    <a:lnTo>
                      <a:pt x="697343" y="756728"/>
                    </a:lnTo>
                    <a:lnTo>
                      <a:pt x="702110" y="759904"/>
                    </a:lnTo>
                    <a:lnTo>
                      <a:pt x="706650" y="763080"/>
                    </a:lnTo>
                    <a:lnTo>
                      <a:pt x="710963" y="766937"/>
                    </a:lnTo>
                    <a:lnTo>
                      <a:pt x="715049" y="770794"/>
                    </a:lnTo>
                    <a:lnTo>
                      <a:pt x="718908" y="774877"/>
                    </a:lnTo>
                    <a:lnTo>
                      <a:pt x="722313" y="779188"/>
                    </a:lnTo>
                    <a:lnTo>
                      <a:pt x="725718" y="783952"/>
                    </a:lnTo>
                    <a:lnTo>
                      <a:pt x="728670" y="788943"/>
                    </a:lnTo>
                    <a:lnTo>
                      <a:pt x="731167" y="793934"/>
                    </a:lnTo>
                    <a:lnTo>
                      <a:pt x="733437" y="799379"/>
                    </a:lnTo>
                    <a:lnTo>
                      <a:pt x="735253" y="804824"/>
                    </a:lnTo>
                    <a:lnTo>
                      <a:pt x="736615" y="810496"/>
                    </a:lnTo>
                    <a:lnTo>
                      <a:pt x="737750" y="816167"/>
                    </a:lnTo>
                    <a:lnTo>
                      <a:pt x="738431" y="822066"/>
                    </a:lnTo>
                    <a:lnTo>
                      <a:pt x="738658" y="828191"/>
                    </a:lnTo>
                    <a:lnTo>
                      <a:pt x="738658" y="832729"/>
                    </a:lnTo>
                    <a:lnTo>
                      <a:pt x="738431" y="836812"/>
                    </a:lnTo>
                    <a:lnTo>
                      <a:pt x="737523" y="840896"/>
                    </a:lnTo>
                    <a:lnTo>
                      <a:pt x="736842" y="844980"/>
                    </a:lnTo>
                    <a:lnTo>
                      <a:pt x="735934" y="849063"/>
                    </a:lnTo>
                    <a:lnTo>
                      <a:pt x="734799" y="852920"/>
                    </a:lnTo>
                    <a:lnTo>
                      <a:pt x="733664" y="856777"/>
                    </a:lnTo>
                    <a:lnTo>
                      <a:pt x="732075" y="860407"/>
                    </a:lnTo>
                    <a:lnTo>
                      <a:pt x="730259" y="864263"/>
                    </a:lnTo>
                    <a:lnTo>
                      <a:pt x="728670" y="867666"/>
                    </a:lnTo>
                    <a:lnTo>
                      <a:pt x="726626" y="871296"/>
                    </a:lnTo>
                    <a:lnTo>
                      <a:pt x="724583" y="874699"/>
                    </a:lnTo>
                    <a:lnTo>
                      <a:pt x="722086" y="877876"/>
                    </a:lnTo>
                    <a:lnTo>
                      <a:pt x="719589" y="881052"/>
                    </a:lnTo>
                    <a:lnTo>
                      <a:pt x="717092" y="884228"/>
                    </a:lnTo>
                    <a:lnTo>
                      <a:pt x="714141" y="886950"/>
                    </a:lnTo>
                    <a:lnTo>
                      <a:pt x="711417" y="889673"/>
                    </a:lnTo>
                    <a:lnTo>
                      <a:pt x="708239" y="892395"/>
                    </a:lnTo>
                    <a:lnTo>
                      <a:pt x="705288" y="894891"/>
                    </a:lnTo>
                    <a:lnTo>
                      <a:pt x="702110" y="896933"/>
                    </a:lnTo>
                    <a:lnTo>
                      <a:pt x="698705" y="899428"/>
                    </a:lnTo>
                    <a:lnTo>
                      <a:pt x="695299" y="901243"/>
                    </a:lnTo>
                    <a:lnTo>
                      <a:pt x="691440" y="903058"/>
                    </a:lnTo>
                    <a:lnTo>
                      <a:pt x="688035" y="904646"/>
                    </a:lnTo>
                    <a:lnTo>
                      <a:pt x="684176" y="906234"/>
                    </a:lnTo>
                    <a:lnTo>
                      <a:pt x="680317" y="907595"/>
                    </a:lnTo>
                    <a:lnTo>
                      <a:pt x="676231" y="908730"/>
                    </a:lnTo>
                    <a:lnTo>
                      <a:pt x="672372" y="909637"/>
                    </a:lnTo>
                    <a:lnTo>
                      <a:pt x="668286" y="910318"/>
                    </a:lnTo>
                    <a:lnTo>
                      <a:pt x="664199" y="910771"/>
                    </a:lnTo>
                    <a:lnTo>
                      <a:pt x="659886" y="911225"/>
                    </a:lnTo>
                    <a:lnTo>
                      <a:pt x="655573" y="911225"/>
                    </a:lnTo>
                    <a:lnTo>
                      <a:pt x="651260" y="911225"/>
                    </a:lnTo>
                    <a:lnTo>
                      <a:pt x="646947" y="910771"/>
                    </a:lnTo>
                    <a:lnTo>
                      <a:pt x="643088" y="910318"/>
                    </a:lnTo>
                    <a:lnTo>
                      <a:pt x="638775" y="909637"/>
                    </a:lnTo>
                    <a:lnTo>
                      <a:pt x="634915" y="908730"/>
                    </a:lnTo>
                    <a:lnTo>
                      <a:pt x="630829" y="907595"/>
                    </a:lnTo>
                    <a:lnTo>
                      <a:pt x="627197" y="906234"/>
                    </a:lnTo>
                    <a:lnTo>
                      <a:pt x="623338" y="904646"/>
                    </a:lnTo>
                    <a:lnTo>
                      <a:pt x="619706" y="903058"/>
                    </a:lnTo>
                    <a:lnTo>
                      <a:pt x="616074" y="901243"/>
                    </a:lnTo>
                    <a:lnTo>
                      <a:pt x="612669" y="899428"/>
                    </a:lnTo>
                    <a:lnTo>
                      <a:pt x="609037" y="896933"/>
                    </a:lnTo>
                    <a:lnTo>
                      <a:pt x="605858" y="894891"/>
                    </a:lnTo>
                    <a:lnTo>
                      <a:pt x="602680" y="892395"/>
                    </a:lnTo>
                    <a:lnTo>
                      <a:pt x="599729" y="889673"/>
                    </a:lnTo>
                    <a:lnTo>
                      <a:pt x="596778" y="886950"/>
                    </a:lnTo>
                    <a:lnTo>
                      <a:pt x="594054" y="884228"/>
                    </a:lnTo>
                    <a:lnTo>
                      <a:pt x="591557" y="881052"/>
                    </a:lnTo>
                    <a:lnTo>
                      <a:pt x="588833" y="877876"/>
                    </a:lnTo>
                    <a:lnTo>
                      <a:pt x="586790" y="874699"/>
                    </a:lnTo>
                    <a:lnTo>
                      <a:pt x="584520" y="871296"/>
                    </a:lnTo>
                    <a:lnTo>
                      <a:pt x="582704" y="867666"/>
                    </a:lnTo>
                    <a:lnTo>
                      <a:pt x="580661" y="864263"/>
                    </a:lnTo>
                    <a:lnTo>
                      <a:pt x="579072" y="860407"/>
                    </a:lnTo>
                    <a:lnTo>
                      <a:pt x="577710" y="856777"/>
                    </a:lnTo>
                    <a:lnTo>
                      <a:pt x="576348" y="852920"/>
                    </a:lnTo>
                    <a:lnTo>
                      <a:pt x="575212" y="849063"/>
                    </a:lnTo>
                    <a:lnTo>
                      <a:pt x="574077" y="844980"/>
                    </a:lnTo>
                    <a:lnTo>
                      <a:pt x="573396" y="840896"/>
                    </a:lnTo>
                    <a:lnTo>
                      <a:pt x="572942" y="836812"/>
                    </a:lnTo>
                    <a:lnTo>
                      <a:pt x="572488" y="832729"/>
                    </a:lnTo>
                    <a:lnTo>
                      <a:pt x="572488" y="828191"/>
                    </a:lnTo>
                    <a:lnTo>
                      <a:pt x="572488" y="825242"/>
                    </a:lnTo>
                    <a:lnTo>
                      <a:pt x="572715" y="822066"/>
                    </a:lnTo>
                    <a:lnTo>
                      <a:pt x="573623" y="815940"/>
                    </a:lnTo>
                    <a:lnTo>
                      <a:pt x="574986" y="810042"/>
                    </a:lnTo>
                    <a:lnTo>
                      <a:pt x="576575" y="804370"/>
                    </a:lnTo>
                    <a:lnTo>
                      <a:pt x="454445" y="733134"/>
                    </a:lnTo>
                    <a:lnTo>
                      <a:pt x="449904" y="736083"/>
                    </a:lnTo>
                    <a:lnTo>
                      <a:pt x="444910" y="738352"/>
                    </a:lnTo>
                    <a:lnTo>
                      <a:pt x="439689" y="740166"/>
                    </a:lnTo>
                    <a:lnTo>
                      <a:pt x="434468" y="741981"/>
                    </a:lnTo>
                    <a:lnTo>
                      <a:pt x="429020" y="743569"/>
                    </a:lnTo>
                    <a:lnTo>
                      <a:pt x="423571" y="744477"/>
                    </a:lnTo>
                    <a:lnTo>
                      <a:pt x="417669" y="745158"/>
                    </a:lnTo>
                    <a:lnTo>
                      <a:pt x="412221" y="745384"/>
                    </a:lnTo>
                    <a:lnTo>
                      <a:pt x="408589" y="745158"/>
                    </a:lnTo>
                    <a:lnTo>
                      <a:pt x="405411" y="744931"/>
                    </a:lnTo>
                    <a:lnTo>
                      <a:pt x="398828" y="744023"/>
                    </a:lnTo>
                    <a:lnTo>
                      <a:pt x="305755" y="898294"/>
                    </a:lnTo>
                    <a:lnTo>
                      <a:pt x="257175" y="869255"/>
                    </a:lnTo>
                    <a:lnTo>
                      <a:pt x="349113" y="716118"/>
                    </a:lnTo>
                    <a:lnTo>
                      <a:pt x="347070" y="713396"/>
                    </a:lnTo>
                    <a:lnTo>
                      <a:pt x="344573" y="710220"/>
                    </a:lnTo>
                    <a:lnTo>
                      <a:pt x="342757" y="707497"/>
                    </a:lnTo>
                    <a:lnTo>
                      <a:pt x="340714" y="704321"/>
                    </a:lnTo>
                    <a:lnTo>
                      <a:pt x="339125" y="701145"/>
                    </a:lnTo>
                    <a:lnTo>
                      <a:pt x="337536" y="697969"/>
                    </a:lnTo>
                    <a:lnTo>
                      <a:pt x="335720" y="694793"/>
                    </a:lnTo>
                    <a:lnTo>
                      <a:pt x="334358" y="691390"/>
                    </a:lnTo>
                    <a:lnTo>
                      <a:pt x="333223" y="687987"/>
                    </a:lnTo>
                    <a:lnTo>
                      <a:pt x="332087" y="684584"/>
                    </a:lnTo>
                    <a:lnTo>
                      <a:pt x="331179" y="680954"/>
                    </a:lnTo>
                    <a:lnTo>
                      <a:pt x="330498" y="677324"/>
                    </a:lnTo>
                    <a:lnTo>
                      <a:pt x="329590" y="673467"/>
                    </a:lnTo>
                    <a:lnTo>
                      <a:pt x="329136" y="670064"/>
                    </a:lnTo>
                    <a:lnTo>
                      <a:pt x="328909" y="665981"/>
                    </a:lnTo>
                    <a:lnTo>
                      <a:pt x="328909" y="662351"/>
                    </a:lnTo>
                    <a:lnTo>
                      <a:pt x="328909" y="658040"/>
                    </a:lnTo>
                    <a:lnTo>
                      <a:pt x="329363" y="653730"/>
                    </a:lnTo>
                    <a:lnTo>
                      <a:pt x="330044" y="649646"/>
                    </a:lnTo>
                    <a:lnTo>
                      <a:pt x="330725" y="645335"/>
                    </a:lnTo>
                    <a:lnTo>
                      <a:pt x="331633" y="641479"/>
                    </a:lnTo>
                    <a:lnTo>
                      <a:pt x="332768" y="637395"/>
                    </a:lnTo>
                    <a:lnTo>
                      <a:pt x="333904" y="633765"/>
                    </a:lnTo>
                    <a:lnTo>
                      <a:pt x="335493" y="629908"/>
                    </a:lnTo>
                    <a:lnTo>
                      <a:pt x="337082" y="626279"/>
                    </a:lnTo>
                    <a:lnTo>
                      <a:pt x="339125" y="622649"/>
                    </a:lnTo>
                    <a:lnTo>
                      <a:pt x="340941" y="619246"/>
                    </a:lnTo>
                    <a:lnTo>
                      <a:pt x="342984" y="615843"/>
                    </a:lnTo>
                    <a:lnTo>
                      <a:pt x="345481" y="612666"/>
                    </a:lnTo>
                    <a:lnTo>
                      <a:pt x="347978" y="609263"/>
                    </a:lnTo>
                    <a:lnTo>
                      <a:pt x="350475" y="606314"/>
                    </a:lnTo>
                    <a:lnTo>
                      <a:pt x="353426" y="603592"/>
                    </a:lnTo>
                    <a:lnTo>
                      <a:pt x="356150" y="600642"/>
                    </a:lnTo>
                    <a:lnTo>
                      <a:pt x="359101" y="598147"/>
                    </a:lnTo>
                    <a:lnTo>
                      <a:pt x="362279" y="595878"/>
                    </a:lnTo>
                    <a:lnTo>
                      <a:pt x="365458" y="593383"/>
                    </a:lnTo>
                    <a:lnTo>
                      <a:pt x="369090" y="591341"/>
                    </a:lnTo>
                    <a:lnTo>
                      <a:pt x="372495" y="589299"/>
                    </a:lnTo>
                    <a:lnTo>
                      <a:pt x="376127" y="587484"/>
                    </a:lnTo>
                    <a:lnTo>
                      <a:pt x="379759" y="585669"/>
                    </a:lnTo>
                    <a:lnTo>
                      <a:pt x="383618" y="584308"/>
                    </a:lnTo>
                    <a:lnTo>
                      <a:pt x="387250" y="582947"/>
                    </a:lnTo>
                    <a:lnTo>
                      <a:pt x="391336" y="581812"/>
                    </a:lnTo>
                    <a:lnTo>
                      <a:pt x="395196" y="580905"/>
                    </a:lnTo>
                    <a:lnTo>
                      <a:pt x="399509" y="580224"/>
                    </a:lnTo>
                    <a:lnTo>
                      <a:pt x="403368" y="579544"/>
                    </a:lnTo>
                    <a:lnTo>
                      <a:pt x="407681" y="579317"/>
                    </a:lnTo>
                    <a:lnTo>
                      <a:pt x="412221" y="579090"/>
                    </a:lnTo>
                    <a:lnTo>
                      <a:pt x="416307" y="579317"/>
                    </a:lnTo>
                    <a:lnTo>
                      <a:pt x="420620" y="579544"/>
                    </a:lnTo>
                    <a:lnTo>
                      <a:pt x="424707" y="580224"/>
                    </a:lnTo>
                    <a:lnTo>
                      <a:pt x="428793" y="580905"/>
                    </a:lnTo>
                    <a:lnTo>
                      <a:pt x="432652" y="581812"/>
                    </a:lnTo>
                    <a:lnTo>
                      <a:pt x="436738" y="582947"/>
                    </a:lnTo>
                    <a:lnTo>
                      <a:pt x="440597" y="584308"/>
                    </a:lnTo>
                    <a:lnTo>
                      <a:pt x="444456" y="585669"/>
                    </a:lnTo>
                    <a:lnTo>
                      <a:pt x="447861" y="587484"/>
                    </a:lnTo>
                    <a:lnTo>
                      <a:pt x="451720" y="589299"/>
                    </a:lnTo>
                    <a:lnTo>
                      <a:pt x="454899" y="591341"/>
                    </a:lnTo>
                    <a:lnTo>
                      <a:pt x="458531" y="593383"/>
                    </a:lnTo>
                    <a:lnTo>
                      <a:pt x="461709" y="595878"/>
                    </a:lnTo>
                    <a:lnTo>
                      <a:pt x="464887" y="598147"/>
                    </a:lnTo>
                    <a:lnTo>
                      <a:pt x="467838" y="600642"/>
                    </a:lnTo>
                    <a:lnTo>
                      <a:pt x="470562" y="603592"/>
                    </a:lnTo>
                    <a:lnTo>
                      <a:pt x="473513" y="606314"/>
                    </a:lnTo>
                    <a:lnTo>
                      <a:pt x="476010" y="609263"/>
                    </a:lnTo>
                    <a:lnTo>
                      <a:pt x="478734" y="612666"/>
                    </a:lnTo>
                    <a:lnTo>
                      <a:pt x="481004" y="615843"/>
                    </a:lnTo>
                    <a:lnTo>
                      <a:pt x="483047" y="619246"/>
                    </a:lnTo>
                    <a:lnTo>
                      <a:pt x="484864" y="622649"/>
                    </a:lnTo>
                    <a:lnTo>
                      <a:pt x="486907" y="626279"/>
                    </a:lnTo>
                    <a:lnTo>
                      <a:pt x="488496" y="629908"/>
                    </a:lnTo>
                    <a:lnTo>
                      <a:pt x="490085" y="633765"/>
                    </a:lnTo>
                    <a:lnTo>
                      <a:pt x="491220" y="637395"/>
                    </a:lnTo>
                    <a:lnTo>
                      <a:pt x="492355" y="641479"/>
                    </a:lnTo>
                    <a:lnTo>
                      <a:pt x="493490" y="645335"/>
                    </a:lnTo>
                    <a:lnTo>
                      <a:pt x="494171" y="649646"/>
                    </a:lnTo>
                    <a:lnTo>
                      <a:pt x="494625" y="653730"/>
                    </a:lnTo>
                    <a:lnTo>
                      <a:pt x="495079" y="658040"/>
                    </a:lnTo>
                    <a:lnTo>
                      <a:pt x="495079" y="662351"/>
                    </a:lnTo>
                    <a:lnTo>
                      <a:pt x="495079" y="665527"/>
                    </a:lnTo>
                    <a:lnTo>
                      <a:pt x="494852" y="669157"/>
                    </a:lnTo>
                    <a:lnTo>
                      <a:pt x="494398" y="672333"/>
                    </a:lnTo>
                    <a:lnTo>
                      <a:pt x="493944" y="675509"/>
                    </a:lnTo>
                    <a:lnTo>
                      <a:pt x="492355" y="682088"/>
                    </a:lnTo>
                    <a:lnTo>
                      <a:pt x="490539" y="688214"/>
                    </a:lnTo>
                    <a:lnTo>
                      <a:pt x="610853" y="758543"/>
                    </a:lnTo>
                    <a:lnTo>
                      <a:pt x="616528" y="755140"/>
                    </a:lnTo>
                    <a:lnTo>
                      <a:pt x="622430" y="752417"/>
                    </a:lnTo>
                    <a:lnTo>
                      <a:pt x="628559" y="749922"/>
                    </a:lnTo>
                    <a:lnTo>
                      <a:pt x="634915" y="748107"/>
                    </a:lnTo>
                    <a:lnTo>
                      <a:pt x="690305" y="547101"/>
                    </a:lnTo>
                    <a:lnTo>
                      <a:pt x="686673" y="544152"/>
                    </a:lnTo>
                    <a:lnTo>
                      <a:pt x="682814" y="540976"/>
                    </a:lnTo>
                    <a:lnTo>
                      <a:pt x="679409" y="537800"/>
                    </a:lnTo>
                    <a:lnTo>
                      <a:pt x="676004" y="533943"/>
                    </a:lnTo>
                    <a:lnTo>
                      <a:pt x="673053" y="530540"/>
                    </a:lnTo>
                    <a:lnTo>
                      <a:pt x="670102" y="526456"/>
                    </a:lnTo>
                    <a:lnTo>
                      <a:pt x="667605" y="522373"/>
                    </a:lnTo>
                    <a:lnTo>
                      <a:pt x="665107" y="518062"/>
                    </a:lnTo>
                    <a:lnTo>
                      <a:pt x="662837" y="513979"/>
                    </a:lnTo>
                    <a:lnTo>
                      <a:pt x="661021" y="509214"/>
                    </a:lnTo>
                    <a:lnTo>
                      <a:pt x="659432" y="504450"/>
                    </a:lnTo>
                    <a:lnTo>
                      <a:pt x="658070" y="499913"/>
                    </a:lnTo>
                    <a:lnTo>
                      <a:pt x="657162" y="494922"/>
                    </a:lnTo>
                    <a:lnTo>
                      <a:pt x="656027" y="489931"/>
                    </a:lnTo>
                    <a:lnTo>
                      <a:pt x="655573" y="484940"/>
                    </a:lnTo>
                    <a:lnTo>
                      <a:pt x="655573" y="479722"/>
                    </a:lnTo>
                    <a:lnTo>
                      <a:pt x="655573" y="475411"/>
                    </a:lnTo>
                    <a:lnTo>
                      <a:pt x="655800" y="471327"/>
                    </a:lnTo>
                    <a:lnTo>
                      <a:pt x="656708" y="467017"/>
                    </a:lnTo>
                    <a:lnTo>
                      <a:pt x="657389" y="463160"/>
                    </a:lnTo>
                    <a:lnTo>
                      <a:pt x="658297" y="458850"/>
                    </a:lnTo>
                    <a:lnTo>
                      <a:pt x="659432" y="455220"/>
                    </a:lnTo>
                    <a:lnTo>
                      <a:pt x="660567" y="451136"/>
                    </a:lnTo>
                    <a:lnTo>
                      <a:pt x="661929" y="447506"/>
                    </a:lnTo>
                    <a:lnTo>
                      <a:pt x="663745" y="443649"/>
                    </a:lnTo>
                    <a:lnTo>
                      <a:pt x="665561" y="440246"/>
                    </a:lnTo>
                    <a:lnTo>
                      <a:pt x="667605" y="436617"/>
                    </a:lnTo>
                    <a:lnTo>
                      <a:pt x="669648" y="433440"/>
                    </a:lnTo>
                    <a:lnTo>
                      <a:pt x="672145" y="430037"/>
                    </a:lnTo>
                    <a:lnTo>
                      <a:pt x="674642" y="426861"/>
                    </a:lnTo>
                    <a:lnTo>
                      <a:pt x="677139" y="423912"/>
                    </a:lnTo>
                    <a:lnTo>
                      <a:pt x="679863" y="420963"/>
                    </a:lnTo>
                    <a:lnTo>
                      <a:pt x="682814" y="418240"/>
                    </a:lnTo>
                    <a:lnTo>
                      <a:pt x="685765" y="415518"/>
                    </a:lnTo>
                    <a:lnTo>
                      <a:pt x="688943" y="413249"/>
                    </a:lnTo>
                    <a:lnTo>
                      <a:pt x="692121" y="410980"/>
                    </a:lnTo>
                    <a:lnTo>
                      <a:pt x="695526" y="408712"/>
                    </a:lnTo>
                    <a:lnTo>
                      <a:pt x="698932" y="406670"/>
                    </a:lnTo>
                    <a:lnTo>
                      <a:pt x="702791" y="404855"/>
                    </a:lnTo>
                    <a:lnTo>
                      <a:pt x="706196" y="403267"/>
                    </a:lnTo>
                    <a:lnTo>
                      <a:pt x="710055" y="401679"/>
                    </a:lnTo>
                    <a:lnTo>
                      <a:pt x="713914" y="400318"/>
                    </a:lnTo>
                    <a:lnTo>
                      <a:pt x="718000" y="399410"/>
                    </a:lnTo>
                    <a:lnTo>
                      <a:pt x="721859" y="398503"/>
                    </a:lnTo>
                    <a:lnTo>
                      <a:pt x="725945" y="397595"/>
                    </a:lnTo>
                    <a:lnTo>
                      <a:pt x="730032" y="397141"/>
                    </a:lnTo>
                    <a:lnTo>
                      <a:pt x="734345" y="396915"/>
                    </a:lnTo>
                    <a:lnTo>
                      <a:pt x="738658" y="396688"/>
                    </a:lnTo>
                    <a:lnTo>
                      <a:pt x="744106" y="396915"/>
                    </a:lnTo>
                    <a:lnTo>
                      <a:pt x="749554" y="397595"/>
                    </a:lnTo>
                    <a:lnTo>
                      <a:pt x="754775" y="398276"/>
                    </a:lnTo>
                    <a:lnTo>
                      <a:pt x="759770" y="399637"/>
                    </a:lnTo>
                    <a:lnTo>
                      <a:pt x="764764" y="400998"/>
                    </a:lnTo>
                    <a:lnTo>
                      <a:pt x="769758" y="403040"/>
                    </a:lnTo>
                    <a:lnTo>
                      <a:pt x="774298" y="405082"/>
                    </a:lnTo>
                    <a:lnTo>
                      <a:pt x="778838" y="407577"/>
                    </a:lnTo>
                    <a:lnTo>
                      <a:pt x="916859" y="288925"/>
                    </a:lnTo>
                    <a:close/>
                    <a:moveTo>
                      <a:pt x="607752" y="120128"/>
                    </a:moveTo>
                    <a:lnTo>
                      <a:pt x="595738" y="120581"/>
                    </a:lnTo>
                    <a:lnTo>
                      <a:pt x="583950" y="121488"/>
                    </a:lnTo>
                    <a:lnTo>
                      <a:pt x="571936" y="122621"/>
                    </a:lnTo>
                    <a:lnTo>
                      <a:pt x="559921" y="123755"/>
                    </a:lnTo>
                    <a:lnTo>
                      <a:pt x="548133" y="125341"/>
                    </a:lnTo>
                    <a:lnTo>
                      <a:pt x="536119" y="127154"/>
                    </a:lnTo>
                    <a:lnTo>
                      <a:pt x="524331" y="129421"/>
                    </a:lnTo>
                    <a:lnTo>
                      <a:pt x="512543" y="131688"/>
                    </a:lnTo>
                    <a:lnTo>
                      <a:pt x="500755" y="134407"/>
                    </a:lnTo>
                    <a:lnTo>
                      <a:pt x="489194" y="137581"/>
                    </a:lnTo>
                    <a:lnTo>
                      <a:pt x="477406" y="140754"/>
                    </a:lnTo>
                    <a:lnTo>
                      <a:pt x="466072" y="144380"/>
                    </a:lnTo>
                    <a:lnTo>
                      <a:pt x="454511" y="148234"/>
                    </a:lnTo>
                    <a:lnTo>
                      <a:pt x="443176" y="152313"/>
                    </a:lnTo>
                    <a:lnTo>
                      <a:pt x="431615" y="156620"/>
                    </a:lnTo>
                    <a:lnTo>
                      <a:pt x="420508" y="161380"/>
                    </a:lnTo>
                    <a:lnTo>
                      <a:pt x="409400" y="166593"/>
                    </a:lnTo>
                    <a:lnTo>
                      <a:pt x="398519" y="171579"/>
                    </a:lnTo>
                    <a:lnTo>
                      <a:pt x="387411" y="177246"/>
                    </a:lnTo>
                    <a:lnTo>
                      <a:pt x="376530" y="183139"/>
                    </a:lnTo>
                    <a:lnTo>
                      <a:pt x="365876" y="189485"/>
                    </a:lnTo>
                    <a:lnTo>
                      <a:pt x="355221" y="195831"/>
                    </a:lnTo>
                    <a:lnTo>
                      <a:pt x="344794" y="202631"/>
                    </a:lnTo>
                    <a:lnTo>
                      <a:pt x="334593" y="209431"/>
                    </a:lnTo>
                    <a:lnTo>
                      <a:pt x="324392" y="216684"/>
                    </a:lnTo>
                    <a:lnTo>
                      <a:pt x="314191" y="224163"/>
                    </a:lnTo>
                    <a:lnTo>
                      <a:pt x="304443" y="232323"/>
                    </a:lnTo>
                    <a:lnTo>
                      <a:pt x="294695" y="240483"/>
                    </a:lnTo>
                    <a:lnTo>
                      <a:pt x="284948" y="248869"/>
                    </a:lnTo>
                    <a:lnTo>
                      <a:pt x="275654" y="257482"/>
                    </a:lnTo>
                    <a:lnTo>
                      <a:pt x="266359" y="266548"/>
                    </a:lnTo>
                    <a:lnTo>
                      <a:pt x="257518" y="275614"/>
                    </a:lnTo>
                    <a:lnTo>
                      <a:pt x="248678" y="285134"/>
                    </a:lnTo>
                    <a:lnTo>
                      <a:pt x="240290" y="294654"/>
                    </a:lnTo>
                    <a:lnTo>
                      <a:pt x="232129" y="304400"/>
                    </a:lnTo>
                    <a:lnTo>
                      <a:pt x="224195" y="314373"/>
                    </a:lnTo>
                    <a:lnTo>
                      <a:pt x="216714" y="324346"/>
                    </a:lnTo>
                    <a:lnTo>
                      <a:pt x="209460" y="334545"/>
                    </a:lnTo>
                    <a:lnTo>
                      <a:pt x="202433" y="344971"/>
                    </a:lnTo>
                    <a:lnTo>
                      <a:pt x="195632" y="355397"/>
                    </a:lnTo>
                    <a:lnTo>
                      <a:pt x="189058" y="366050"/>
                    </a:lnTo>
                    <a:lnTo>
                      <a:pt x="183164" y="376703"/>
                    </a:lnTo>
                    <a:lnTo>
                      <a:pt x="177271" y="387583"/>
                    </a:lnTo>
                    <a:lnTo>
                      <a:pt x="171603" y="398462"/>
                    </a:lnTo>
                    <a:lnTo>
                      <a:pt x="166390" y="409342"/>
                    </a:lnTo>
                    <a:lnTo>
                      <a:pt x="161402" y="420448"/>
                    </a:lnTo>
                    <a:lnTo>
                      <a:pt x="156642" y="431554"/>
                    </a:lnTo>
                    <a:lnTo>
                      <a:pt x="152108" y="443114"/>
                    </a:lnTo>
                    <a:lnTo>
                      <a:pt x="148028" y="454673"/>
                    </a:lnTo>
                    <a:lnTo>
                      <a:pt x="144174" y="466006"/>
                    </a:lnTo>
                    <a:lnTo>
                      <a:pt x="140774" y="477565"/>
                    </a:lnTo>
                    <a:lnTo>
                      <a:pt x="137373" y="489125"/>
                    </a:lnTo>
                    <a:lnTo>
                      <a:pt x="134426" y="500911"/>
                    </a:lnTo>
                    <a:lnTo>
                      <a:pt x="131706" y="512470"/>
                    </a:lnTo>
                    <a:lnTo>
                      <a:pt x="129213" y="524256"/>
                    </a:lnTo>
                    <a:lnTo>
                      <a:pt x="127172" y="536269"/>
                    </a:lnTo>
                    <a:lnTo>
                      <a:pt x="125359" y="548055"/>
                    </a:lnTo>
                    <a:lnTo>
                      <a:pt x="123772" y="560068"/>
                    </a:lnTo>
                    <a:lnTo>
                      <a:pt x="122185" y="571854"/>
                    </a:lnTo>
                    <a:lnTo>
                      <a:pt x="121278" y="583867"/>
                    </a:lnTo>
                    <a:lnTo>
                      <a:pt x="120598" y="595880"/>
                    </a:lnTo>
                    <a:lnTo>
                      <a:pt x="120145" y="607666"/>
                    </a:lnTo>
                    <a:lnTo>
                      <a:pt x="120145" y="619905"/>
                    </a:lnTo>
                    <a:lnTo>
                      <a:pt x="120145" y="631918"/>
                    </a:lnTo>
                    <a:lnTo>
                      <a:pt x="120598" y="643704"/>
                    </a:lnTo>
                    <a:lnTo>
                      <a:pt x="121278" y="655717"/>
                    </a:lnTo>
                    <a:lnTo>
                      <a:pt x="122185" y="667503"/>
                    </a:lnTo>
                    <a:lnTo>
                      <a:pt x="123772" y="679516"/>
                    </a:lnTo>
                    <a:lnTo>
                      <a:pt x="125359" y="691529"/>
                    </a:lnTo>
                    <a:lnTo>
                      <a:pt x="127172" y="703315"/>
                    </a:lnTo>
                    <a:lnTo>
                      <a:pt x="129213" y="715328"/>
                    </a:lnTo>
                    <a:lnTo>
                      <a:pt x="131706" y="726887"/>
                    </a:lnTo>
                    <a:lnTo>
                      <a:pt x="134426" y="738673"/>
                    </a:lnTo>
                    <a:lnTo>
                      <a:pt x="137373" y="750460"/>
                    </a:lnTo>
                    <a:lnTo>
                      <a:pt x="140774" y="762019"/>
                    </a:lnTo>
                    <a:lnTo>
                      <a:pt x="144174" y="773579"/>
                    </a:lnTo>
                    <a:lnTo>
                      <a:pt x="148028" y="784911"/>
                    </a:lnTo>
                    <a:lnTo>
                      <a:pt x="152108" y="796471"/>
                    </a:lnTo>
                    <a:lnTo>
                      <a:pt x="156642" y="807804"/>
                    </a:lnTo>
                    <a:lnTo>
                      <a:pt x="161402" y="819136"/>
                    </a:lnTo>
                    <a:lnTo>
                      <a:pt x="166390" y="830016"/>
                    </a:lnTo>
                    <a:lnTo>
                      <a:pt x="171603" y="841122"/>
                    </a:lnTo>
                    <a:lnTo>
                      <a:pt x="177271" y="852002"/>
                    </a:lnTo>
                    <a:lnTo>
                      <a:pt x="183164" y="862881"/>
                    </a:lnTo>
                    <a:lnTo>
                      <a:pt x="189058" y="873534"/>
                    </a:lnTo>
                    <a:lnTo>
                      <a:pt x="195632" y="884187"/>
                    </a:lnTo>
                    <a:lnTo>
                      <a:pt x="202433" y="894613"/>
                    </a:lnTo>
                    <a:lnTo>
                      <a:pt x="209460" y="904813"/>
                    </a:lnTo>
                    <a:lnTo>
                      <a:pt x="216714" y="915239"/>
                    </a:lnTo>
                    <a:lnTo>
                      <a:pt x="224195" y="925212"/>
                    </a:lnTo>
                    <a:lnTo>
                      <a:pt x="232129" y="934958"/>
                    </a:lnTo>
                    <a:lnTo>
                      <a:pt x="240290" y="944931"/>
                    </a:lnTo>
                    <a:lnTo>
                      <a:pt x="248678" y="954450"/>
                    </a:lnTo>
                    <a:lnTo>
                      <a:pt x="257518" y="963743"/>
                    </a:lnTo>
                    <a:lnTo>
                      <a:pt x="266359" y="973036"/>
                    </a:lnTo>
                    <a:lnTo>
                      <a:pt x="275654" y="982102"/>
                    </a:lnTo>
                    <a:lnTo>
                      <a:pt x="284948" y="990715"/>
                    </a:lnTo>
                    <a:lnTo>
                      <a:pt x="294695" y="999102"/>
                    </a:lnTo>
                    <a:lnTo>
                      <a:pt x="304443" y="1007261"/>
                    </a:lnTo>
                    <a:lnTo>
                      <a:pt x="314191" y="1015194"/>
                    </a:lnTo>
                    <a:lnTo>
                      <a:pt x="324392" y="1022674"/>
                    </a:lnTo>
                    <a:lnTo>
                      <a:pt x="334593" y="1029927"/>
                    </a:lnTo>
                    <a:lnTo>
                      <a:pt x="344794" y="1036953"/>
                    </a:lnTo>
                    <a:lnTo>
                      <a:pt x="355221" y="1043753"/>
                    </a:lnTo>
                    <a:lnTo>
                      <a:pt x="365876" y="1050099"/>
                    </a:lnTo>
                    <a:lnTo>
                      <a:pt x="376530" y="1056446"/>
                    </a:lnTo>
                    <a:lnTo>
                      <a:pt x="387411" y="1062339"/>
                    </a:lnTo>
                    <a:lnTo>
                      <a:pt x="398292" y="1067779"/>
                    </a:lnTo>
                    <a:lnTo>
                      <a:pt x="409400" y="1072992"/>
                    </a:lnTo>
                    <a:lnTo>
                      <a:pt x="420508" y="1078205"/>
                    </a:lnTo>
                    <a:lnTo>
                      <a:pt x="431615" y="1082738"/>
                    </a:lnTo>
                    <a:lnTo>
                      <a:pt x="443176" y="1087271"/>
                    </a:lnTo>
                    <a:lnTo>
                      <a:pt x="454511" y="1091351"/>
                    </a:lnTo>
                    <a:lnTo>
                      <a:pt x="466072" y="1095204"/>
                    </a:lnTo>
                    <a:lnTo>
                      <a:pt x="477406" y="1098830"/>
                    </a:lnTo>
                    <a:lnTo>
                      <a:pt x="489194" y="1102004"/>
                    </a:lnTo>
                    <a:lnTo>
                      <a:pt x="500755" y="1104950"/>
                    </a:lnTo>
                    <a:lnTo>
                      <a:pt x="512543" y="1107897"/>
                    </a:lnTo>
                    <a:lnTo>
                      <a:pt x="524331" y="1110163"/>
                    </a:lnTo>
                    <a:lnTo>
                      <a:pt x="536119" y="1112203"/>
                    </a:lnTo>
                    <a:lnTo>
                      <a:pt x="548133" y="1114243"/>
                    </a:lnTo>
                    <a:lnTo>
                      <a:pt x="559921" y="1115830"/>
                    </a:lnTo>
                    <a:lnTo>
                      <a:pt x="571936" y="1116963"/>
                    </a:lnTo>
                    <a:lnTo>
                      <a:pt x="583950" y="1118096"/>
                    </a:lnTo>
                    <a:lnTo>
                      <a:pt x="595738" y="1118776"/>
                    </a:lnTo>
                    <a:lnTo>
                      <a:pt x="607752" y="1119230"/>
                    </a:lnTo>
                    <a:lnTo>
                      <a:pt x="619540" y="1119230"/>
                    </a:lnTo>
                    <a:lnTo>
                      <a:pt x="631782" y="1119230"/>
                    </a:lnTo>
                    <a:lnTo>
                      <a:pt x="643796" y="1118776"/>
                    </a:lnTo>
                    <a:lnTo>
                      <a:pt x="655584" y="1118096"/>
                    </a:lnTo>
                    <a:lnTo>
                      <a:pt x="667598" y="1116963"/>
                    </a:lnTo>
                    <a:lnTo>
                      <a:pt x="679613" y="1115830"/>
                    </a:lnTo>
                    <a:lnTo>
                      <a:pt x="691401" y="1114243"/>
                    </a:lnTo>
                    <a:lnTo>
                      <a:pt x="703415" y="1112203"/>
                    </a:lnTo>
                    <a:lnTo>
                      <a:pt x="715203" y="1110163"/>
                    </a:lnTo>
                    <a:lnTo>
                      <a:pt x="726991" y="1107897"/>
                    </a:lnTo>
                    <a:lnTo>
                      <a:pt x="738779" y="1104950"/>
                    </a:lnTo>
                    <a:lnTo>
                      <a:pt x="750340" y="1102004"/>
                    </a:lnTo>
                    <a:lnTo>
                      <a:pt x="762128" y="1098830"/>
                    </a:lnTo>
                    <a:lnTo>
                      <a:pt x="773462" y="1095204"/>
                    </a:lnTo>
                    <a:lnTo>
                      <a:pt x="785023" y="1091351"/>
                    </a:lnTo>
                    <a:lnTo>
                      <a:pt x="796358" y="1087271"/>
                    </a:lnTo>
                    <a:lnTo>
                      <a:pt x="807692" y="1082738"/>
                    </a:lnTo>
                    <a:lnTo>
                      <a:pt x="819026" y="1078205"/>
                    </a:lnTo>
                    <a:lnTo>
                      <a:pt x="830134" y="1072992"/>
                    </a:lnTo>
                    <a:lnTo>
                      <a:pt x="841015" y="1067779"/>
                    </a:lnTo>
                    <a:lnTo>
                      <a:pt x="852123" y="1062339"/>
                    </a:lnTo>
                    <a:lnTo>
                      <a:pt x="862777" y="1056446"/>
                    </a:lnTo>
                    <a:lnTo>
                      <a:pt x="873658" y="1050099"/>
                    </a:lnTo>
                    <a:lnTo>
                      <a:pt x="884086" y="1043753"/>
                    </a:lnTo>
                    <a:lnTo>
                      <a:pt x="894740" y="1036953"/>
                    </a:lnTo>
                    <a:lnTo>
                      <a:pt x="904941" y="1029927"/>
                    </a:lnTo>
                    <a:lnTo>
                      <a:pt x="915142" y="1022674"/>
                    </a:lnTo>
                    <a:lnTo>
                      <a:pt x="925343" y="1015194"/>
                    </a:lnTo>
                    <a:lnTo>
                      <a:pt x="935091" y="1007261"/>
                    </a:lnTo>
                    <a:lnTo>
                      <a:pt x="944839" y="999102"/>
                    </a:lnTo>
                    <a:lnTo>
                      <a:pt x="954586" y="990715"/>
                    </a:lnTo>
                    <a:lnTo>
                      <a:pt x="963880" y="982102"/>
                    </a:lnTo>
                    <a:lnTo>
                      <a:pt x="972948" y="973036"/>
                    </a:lnTo>
                    <a:lnTo>
                      <a:pt x="982016" y="963743"/>
                    </a:lnTo>
                    <a:lnTo>
                      <a:pt x="990856" y="954450"/>
                    </a:lnTo>
                    <a:lnTo>
                      <a:pt x="999244" y="944931"/>
                    </a:lnTo>
                    <a:lnTo>
                      <a:pt x="1007405" y="934958"/>
                    </a:lnTo>
                    <a:lnTo>
                      <a:pt x="1015339" y="925212"/>
                    </a:lnTo>
                    <a:lnTo>
                      <a:pt x="1022820" y="915239"/>
                    </a:lnTo>
                    <a:lnTo>
                      <a:pt x="1030074" y="904813"/>
                    </a:lnTo>
                    <a:lnTo>
                      <a:pt x="1037101" y="894613"/>
                    </a:lnTo>
                    <a:lnTo>
                      <a:pt x="1043902" y="884187"/>
                    </a:lnTo>
                    <a:lnTo>
                      <a:pt x="1050249" y="873534"/>
                    </a:lnTo>
                    <a:lnTo>
                      <a:pt x="1056370" y="862881"/>
                    </a:lnTo>
                    <a:lnTo>
                      <a:pt x="1062263" y="852002"/>
                    </a:lnTo>
                    <a:lnTo>
                      <a:pt x="1067931" y="841122"/>
                    </a:lnTo>
                    <a:lnTo>
                      <a:pt x="1073144" y="830016"/>
                    </a:lnTo>
                    <a:lnTo>
                      <a:pt x="1078132" y="819136"/>
                    </a:lnTo>
                    <a:lnTo>
                      <a:pt x="1082892" y="807804"/>
                    </a:lnTo>
                    <a:lnTo>
                      <a:pt x="1087426" y="796471"/>
                    </a:lnTo>
                    <a:lnTo>
                      <a:pt x="1091280" y="784911"/>
                    </a:lnTo>
                    <a:lnTo>
                      <a:pt x="1095360" y="773579"/>
                    </a:lnTo>
                    <a:lnTo>
                      <a:pt x="1098760" y="762019"/>
                    </a:lnTo>
                    <a:lnTo>
                      <a:pt x="1102161" y="750460"/>
                    </a:lnTo>
                    <a:lnTo>
                      <a:pt x="1105108" y="738673"/>
                    </a:lnTo>
                    <a:lnTo>
                      <a:pt x="1107828" y="726887"/>
                    </a:lnTo>
                    <a:lnTo>
                      <a:pt x="1110321" y="715328"/>
                    </a:lnTo>
                    <a:lnTo>
                      <a:pt x="1112362" y="703315"/>
                    </a:lnTo>
                    <a:lnTo>
                      <a:pt x="1114175" y="691529"/>
                    </a:lnTo>
                    <a:lnTo>
                      <a:pt x="1115762" y="679516"/>
                    </a:lnTo>
                    <a:lnTo>
                      <a:pt x="1117122" y="667503"/>
                    </a:lnTo>
                    <a:lnTo>
                      <a:pt x="1118256" y="655717"/>
                    </a:lnTo>
                    <a:lnTo>
                      <a:pt x="1118936" y="643704"/>
                    </a:lnTo>
                    <a:lnTo>
                      <a:pt x="1119389" y="631918"/>
                    </a:lnTo>
                    <a:lnTo>
                      <a:pt x="1119389" y="619905"/>
                    </a:lnTo>
                    <a:lnTo>
                      <a:pt x="1119389" y="607666"/>
                    </a:lnTo>
                    <a:lnTo>
                      <a:pt x="1118936" y="595880"/>
                    </a:lnTo>
                    <a:lnTo>
                      <a:pt x="1118256" y="583867"/>
                    </a:lnTo>
                    <a:lnTo>
                      <a:pt x="1117122" y="571854"/>
                    </a:lnTo>
                    <a:lnTo>
                      <a:pt x="1115762" y="560068"/>
                    </a:lnTo>
                    <a:lnTo>
                      <a:pt x="1114175" y="548055"/>
                    </a:lnTo>
                    <a:lnTo>
                      <a:pt x="1112362" y="536269"/>
                    </a:lnTo>
                    <a:lnTo>
                      <a:pt x="1110321" y="524256"/>
                    </a:lnTo>
                    <a:lnTo>
                      <a:pt x="1107828" y="512470"/>
                    </a:lnTo>
                    <a:lnTo>
                      <a:pt x="1105108" y="500911"/>
                    </a:lnTo>
                    <a:lnTo>
                      <a:pt x="1102161" y="489125"/>
                    </a:lnTo>
                    <a:lnTo>
                      <a:pt x="1098760" y="477565"/>
                    </a:lnTo>
                    <a:lnTo>
                      <a:pt x="1095360" y="466006"/>
                    </a:lnTo>
                    <a:lnTo>
                      <a:pt x="1091280" y="454673"/>
                    </a:lnTo>
                    <a:lnTo>
                      <a:pt x="1087426" y="443114"/>
                    </a:lnTo>
                    <a:lnTo>
                      <a:pt x="1082892" y="431554"/>
                    </a:lnTo>
                    <a:lnTo>
                      <a:pt x="1078132" y="420448"/>
                    </a:lnTo>
                    <a:lnTo>
                      <a:pt x="1073144" y="409342"/>
                    </a:lnTo>
                    <a:lnTo>
                      <a:pt x="1067931" y="398462"/>
                    </a:lnTo>
                    <a:lnTo>
                      <a:pt x="1062263" y="387583"/>
                    </a:lnTo>
                    <a:lnTo>
                      <a:pt x="1056370" y="376703"/>
                    </a:lnTo>
                    <a:lnTo>
                      <a:pt x="1050249" y="366050"/>
                    </a:lnTo>
                    <a:lnTo>
                      <a:pt x="1043902" y="355397"/>
                    </a:lnTo>
                    <a:lnTo>
                      <a:pt x="1037101" y="344971"/>
                    </a:lnTo>
                    <a:lnTo>
                      <a:pt x="1030074" y="334545"/>
                    </a:lnTo>
                    <a:lnTo>
                      <a:pt x="1022820" y="324346"/>
                    </a:lnTo>
                    <a:lnTo>
                      <a:pt x="1015339" y="314373"/>
                    </a:lnTo>
                    <a:lnTo>
                      <a:pt x="1007405" y="304400"/>
                    </a:lnTo>
                    <a:lnTo>
                      <a:pt x="999244" y="294654"/>
                    </a:lnTo>
                    <a:lnTo>
                      <a:pt x="990856" y="285134"/>
                    </a:lnTo>
                    <a:lnTo>
                      <a:pt x="982016" y="275614"/>
                    </a:lnTo>
                    <a:lnTo>
                      <a:pt x="972948" y="266548"/>
                    </a:lnTo>
                    <a:lnTo>
                      <a:pt x="963880" y="257482"/>
                    </a:lnTo>
                    <a:lnTo>
                      <a:pt x="954586" y="248869"/>
                    </a:lnTo>
                    <a:lnTo>
                      <a:pt x="944839" y="240483"/>
                    </a:lnTo>
                    <a:lnTo>
                      <a:pt x="935091" y="232323"/>
                    </a:lnTo>
                    <a:lnTo>
                      <a:pt x="925343" y="224163"/>
                    </a:lnTo>
                    <a:lnTo>
                      <a:pt x="915142" y="216684"/>
                    </a:lnTo>
                    <a:lnTo>
                      <a:pt x="904941" y="209431"/>
                    </a:lnTo>
                    <a:lnTo>
                      <a:pt x="894740" y="202631"/>
                    </a:lnTo>
                    <a:lnTo>
                      <a:pt x="884086" y="195831"/>
                    </a:lnTo>
                    <a:lnTo>
                      <a:pt x="873658" y="189485"/>
                    </a:lnTo>
                    <a:lnTo>
                      <a:pt x="862777" y="183139"/>
                    </a:lnTo>
                    <a:lnTo>
                      <a:pt x="852123" y="177246"/>
                    </a:lnTo>
                    <a:lnTo>
                      <a:pt x="841015" y="171579"/>
                    </a:lnTo>
                    <a:lnTo>
                      <a:pt x="830134" y="166593"/>
                    </a:lnTo>
                    <a:lnTo>
                      <a:pt x="819026" y="161380"/>
                    </a:lnTo>
                    <a:lnTo>
                      <a:pt x="807692" y="156620"/>
                    </a:lnTo>
                    <a:lnTo>
                      <a:pt x="796358" y="152313"/>
                    </a:lnTo>
                    <a:lnTo>
                      <a:pt x="785023" y="148234"/>
                    </a:lnTo>
                    <a:lnTo>
                      <a:pt x="773462" y="144380"/>
                    </a:lnTo>
                    <a:lnTo>
                      <a:pt x="762128" y="140754"/>
                    </a:lnTo>
                    <a:lnTo>
                      <a:pt x="750340" y="137581"/>
                    </a:lnTo>
                    <a:lnTo>
                      <a:pt x="738779" y="134407"/>
                    </a:lnTo>
                    <a:lnTo>
                      <a:pt x="726991" y="131688"/>
                    </a:lnTo>
                    <a:lnTo>
                      <a:pt x="715203" y="129421"/>
                    </a:lnTo>
                    <a:lnTo>
                      <a:pt x="703415" y="127154"/>
                    </a:lnTo>
                    <a:lnTo>
                      <a:pt x="691401" y="125341"/>
                    </a:lnTo>
                    <a:lnTo>
                      <a:pt x="679613" y="123755"/>
                    </a:lnTo>
                    <a:lnTo>
                      <a:pt x="667598" y="122621"/>
                    </a:lnTo>
                    <a:lnTo>
                      <a:pt x="655584" y="121488"/>
                    </a:lnTo>
                    <a:lnTo>
                      <a:pt x="643796" y="120581"/>
                    </a:lnTo>
                    <a:lnTo>
                      <a:pt x="631782" y="120128"/>
                    </a:lnTo>
                    <a:lnTo>
                      <a:pt x="619540" y="120128"/>
                    </a:lnTo>
                    <a:lnTo>
                      <a:pt x="607752" y="120128"/>
                    </a:lnTo>
                    <a:close/>
                    <a:moveTo>
                      <a:pt x="619540" y="0"/>
                    </a:moveTo>
                    <a:lnTo>
                      <a:pt x="634502" y="227"/>
                    </a:lnTo>
                    <a:lnTo>
                      <a:pt x="649690" y="907"/>
                    </a:lnTo>
                    <a:lnTo>
                      <a:pt x="664198" y="1587"/>
                    </a:lnTo>
                    <a:lnTo>
                      <a:pt x="678933" y="3173"/>
                    </a:lnTo>
                    <a:lnTo>
                      <a:pt x="694121" y="4533"/>
                    </a:lnTo>
                    <a:lnTo>
                      <a:pt x="708629" y="6573"/>
                    </a:lnTo>
                    <a:lnTo>
                      <a:pt x="723364" y="8840"/>
                    </a:lnTo>
                    <a:lnTo>
                      <a:pt x="738098" y="11560"/>
                    </a:lnTo>
                    <a:lnTo>
                      <a:pt x="752607" y="14506"/>
                    </a:lnTo>
                    <a:lnTo>
                      <a:pt x="767115" y="17906"/>
                    </a:lnTo>
                    <a:lnTo>
                      <a:pt x="781623" y="21533"/>
                    </a:lnTo>
                    <a:lnTo>
                      <a:pt x="796131" y="25839"/>
                    </a:lnTo>
                    <a:lnTo>
                      <a:pt x="810412" y="30146"/>
                    </a:lnTo>
                    <a:lnTo>
                      <a:pt x="824694" y="34905"/>
                    </a:lnTo>
                    <a:lnTo>
                      <a:pt x="838975" y="40118"/>
                    </a:lnTo>
                    <a:lnTo>
                      <a:pt x="853030" y="45558"/>
                    </a:lnTo>
                    <a:lnTo>
                      <a:pt x="866858" y="51451"/>
                    </a:lnTo>
                    <a:lnTo>
                      <a:pt x="880686" y="57571"/>
                    </a:lnTo>
                    <a:lnTo>
                      <a:pt x="894514" y="64144"/>
                    </a:lnTo>
                    <a:lnTo>
                      <a:pt x="907888" y="71170"/>
                    </a:lnTo>
                    <a:lnTo>
                      <a:pt x="921263" y="78423"/>
                    </a:lnTo>
                    <a:lnTo>
                      <a:pt x="934638" y="85903"/>
                    </a:lnTo>
                    <a:lnTo>
                      <a:pt x="947786" y="93836"/>
                    </a:lnTo>
                    <a:lnTo>
                      <a:pt x="960934" y="102222"/>
                    </a:lnTo>
                    <a:lnTo>
                      <a:pt x="973401" y="110835"/>
                    </a:lnTo>
                    <a:lnTo>
                      <a:pt x="986096" y="119901"/>
                    </a:lnTo>
                    <a:lnTo>
                      <a:pt x="998791" y="129421"/>
                    </a:lnTo>
                    <a:lnTo>
                      <a:pt x="1010805" y="139167"/>
                    </a:lnTo>
                    <a:lnTo>
                      <a:pt x="1023046" y="149140"/>
                    </a:lnTo>
                    <a:lnTo>
                      <a:pt x="1034607" y="159793"/>
                    </a:lnTo>
                    <a:lnTo>
                      <a:pt x="1046395" y="170446"/>
                    </a:lnTo>
                    <a:lnTo>
                      <a:pt x="1057956" y="181779"/>
                    </a:lnTo>
                    <a:lnTo>
                      <a:pt x="1067251" y="191072"/>
                    </a:lnTo>
                    <a:lnTo>
                      <a:pt x="1076318" y="200591"/>
                    </a:lnTo>
                    <a:lnTo>
                      <a:pt x="1084932" y="210564"/>
                    </a:lnTo>
                    <a:lnTo>
                      <a:pt x="1093546" y="220310"/>
                    </a:lnTo>
                    <a:lnTo>
                      <a:pt x="1101934" y="230283"/>
                    </a:lnTo>
                    <a:lnTo>
                      <a:pt x="1110095" y="240709"/>
                    </a:lnTo>
                    <a:lnTo>
                      <a:pt x="1117802" y="250909"/>
                    </a:lnTo>
                    <a:lnTo>
                      <a:pt x="1125510" y="261108"/>
                    </a:lnTo>
                    <a:lnTo>
                      <a:pt x="1132764" y="271988"/>
                    </a:lnTo>
                    <a:lnTo>
                      <a:pt x="1139791" y="282414"/>
                    </a:lnTo>
                    <a:lnTo>
                      <a:pt x="1146592" y="293294"/>
                    </a:lnTo>
                    <a:lnTo>
                      <a:pt x="1153166" y="304173"/>
                    </a:lnTo>
                    <a:lnTo>
                      <a:pt x="1159513" y="315279"/>
                    </a:lnTo>
                    <a:lnTo>
                      <a:pt x="1165634" y="326159"/>
                    </a:lnTo>
                    <a:lnTo>
                      <a:pt x="1171527" y="337492"/>
                    </a:lnTo>
                    <a:lnTo>
                      <a:pt x="1177195" y="348598"/>
                    </a:lnTo>
                    <a:lnTo>
                      <a:pt x="1182408" y="360157"/>
                    </a:lnTo>
                    <a:lnTo>
                      <a:pt x="1187622" y="371490"/>
                    </a:lnTo>
                    <a:lnTo>
                      <a:pt x="1192610" y="383050"/>
                    </a:lnTo>
                    <a:lnTo>
                      <a:pt x="1197143" y="394609"/>
                    </a:lnTo>
                    <a:lnTo>
                      <a:pt x="1201677" y="406395"/>
                    </a:lnTo>
                    <a:lnTo>
                      <a:pt x="1205984" y="418181"/>
                    </a:lnTo>
                    <a:lnTo>
                      <a:pt x="1209611" y="429741"/>
                    </a:lnTo>
                    <a:lnTo>
                      <a:pt x="1213465" y="441754"/>
                    </a:lnTo>
                    <a:lnTo>
                      <a:pt x="1216865" y="453540"/>
                    </a:lnTo>
                    <a:lnTo>
                      <a:pt x="1219812" y="465552"/>
                    </a:lnTo>
                    <a:lnTo>
                      <a:pt x="1222986" y="477792"/>
                    </a:lnTo>
                    <a:lnTo>
                      <a:pt x="1225706" y="489578"/>
                    </a:lnTo>
                    <a:lnTo>
                      <a:pt x="1228200" y="501818"/>
                    </a:lnTo>
                    <a:lnTo>
                      <a:pt x="1230240" y="514057"/>
                    </a:lnTo>
                    <a:lnTo>
                      <a:pt x="1232280" y="526070"/>
                    </a:lnTo>
                    <a:lnTo>
                      <a:pt x="1233867" y="538536"/>
                    </a:lnTo>
                    <a:lnTo>
                      <a:pt x="1235680" y="550775"/>
                    </a:lnTo>
                    <a:lnTo>
                      <a:pt x="1236814" y="563015"/>
                    </a:lnTo>
                    <a:lnTo>
                      <a:pt x="1237720" y="575254"/>
                    </a:lnTo>
                    <a:lnTo>
                      <a:pt x="1238401" y="587720"/>
                    </a:lnTo>
                    <a:lnTo>
                      <a:pt x="1239081" y="599733"/>
                    </a:lnTo>
                    <a:lnTo>
                      <a:pt x="1239307" y="612199"/>
                    </a:lnTo>
                    <a:lnTo>
                      <a:pt x="1239307" y="624665"/>
                    </a:lnTo>
                    <a:lnTo>
                      <a:pt x="1239081" y="636678"/>
                    </a:lnTo>
                    <a:lnTo>
                      <a:pt x="1238627" y="649144"/>
                    </a:lnTo>
                    <a:lnTo>
                      <a:pt x="1237947" y="661610"/>
                    </a:lnTo>
                    <a:lnTo>
                      <a:pt x="1237040" y="673623"/>
                    </a:lnTo>
                    <a:lnTo>
                      <a:pt x="1235907" y="686089"/>
                    </a:lnTo>
                    <a:lnTo>
                      <a:pt x="1234320" y="698102"/>
                    </a:lnTo>
                    <a:lnTo>
                      <a:pt x="1232507" y="710341"/>
                    </a:lnTo>
                    <a:lnTo>
                      <a:pt x="1230693" y="722807"/>
                    </a:lnTo>
                    <a:lnTo>
                      <a:pt x="1228653" y="734820"/>
                    </a:lnTo>
                    <a:lnTo>
                      <a:pt x="1226159" y="746833"/>
                    </a:lnTo>
                    <a:lnTo>
                      <a:pt x="1223439" y="759073"/>
                    </a:lnTo>
                    <a:lnTo>
                      <a:pt x="1220719" y="771085"/>
                    </a:lnTo>
                    <a:lnTo>
                      <a:pt x="1217545" y="783098"/>
                    </a:lnTo>
                    <a:lnTo>
                      <a:pt x="1214145" y="795111"/>
                    </a:lnTo>
                    <a:lnTo>
                      <a:pt x="1210518" y="806897"/>
                    </a:lnTo>
                    <a:lnTo>
                      <a:pt x="1206664" y="818683"/>
                    </a:lnTo>
                    <a:lnTo>
                      <a:pt x="1202357" y="830469"/>
                    </a:lnTo>
                    <a:lnTo>
                      <a:pt x="1198277" y="842255"/>
                    </a:lnTo>
                    <a:lnTo>
                      <a:pt x="1193516" y="853588"/>
                    </a:lnTo>
                    <a:lnTo>
                      <a:pt x="1188529" y="865374"/>
                    </a:lnTo>
                    <a:lnTo>
                      <a:pt x="1183769" y="876934"/>
                    </a:lnTo>
                    <a:lnTo>
                      <a:pt x="1178328" y="888267"/>
                    </a:lnTo>
                    <a:lnTo>
                      <a:pt x="1172661" y="899599"/>
                    </a:lnTo>
                    <a:lnTo>
                      <a:pt x="1166767" y="910706"/>
                    </a:lnTo>
                    <a:lnTo>
                      <a:pt x="1160646" y="921812"/>
                    </a:lnTo>
                    <a:lnTo>
                      <a:pt x="1534229" y="1295115"/>
                    </a:lnTo>
                    <a:lnTo>
                      <a:pt x="1540350" y="1301461"/>
                    </a:lnTo>
                    <a:lnTo>
                      <a:pt x="1545790" y="1308034"/>
                    </a:lnTo>
                    <a:lnTo>
                      <a:pt x="1551231" y="1314607"/>
                    </a:lnTo>
                    <a:lnTo>
                      <a:pt x="1556445" y="1321407"/>
                    </a:lnTo>
                    <a:lnTo>
                      <a:pt x="1560752" y="1328433"/>
                    </a:lnTo>
                    <a:lnTo>
                      <a:pt x="1565286" y="1335460"/>
                    </a:lnTo>
                    <a:lnTo>
                      <a:pt x="1569366" y="1342713"/>
                    </a:lnTo>
                    <a:lnTo>
                      <a:pt x="1572766" y="1349966"/>
                    </a:lnTo>
                    <a:lnTo>
                      <a:pt x="1576167" y="1357219"/>
                    </a:lnTo>
                    <a:lnTo>
                      <a:pt x="1578887" y="1364698"/>
                    </a:lnTo>
                    <a:lnTo>
                      <a:pt x="1581381" y="1372178"/>
                    </a:lnTo>
                    <a:lnTo>
                      <a:pt x="1583648" y="1379658"/>
                    </a:lnTo>
                    <a:lnTo>
                      <a:pt x="1585461" y="1387137"/>
                    </a:lnTo>
                    <a:lnTo>
                      <a:pt x="1586821" y="1394617"/>
                    </a:lnTo>
                    <a:lnTo>
                      <a:pt x="1587955" y="1402323"/>
                    </a:lnTo>
                    <a:lnTo>
                      <a:pt x="1588635" y="1409803"/>
                    </a:lnTo>
                    <a:lnTo>
                      <a:pt x="1589088" y="1417283"/>
                    </a:lnTo>
                    <a:lnTo>
                      <a:pt x="1589088" y="1424762"/>
                    </a:lnTo>
                    <a:lnTo>
                      <a:pt x="1588861" y="1432242"/>
                    </a:lnTo>
                    <a:lnTo>
                      <a:pt x="1588181" y="1439495"/>
                    </a:lnTo>
                    <a:lnTo>
                      <a:pt x="1587274" y="1446748"/>
                    </a:lnTo>
                    <a:lnTo>
                      <a:pt x="1585914" y="1454001"/>
                    </a:lnTo>
                    <a:lnTo>
                      <a:pt x="1584101" y="1461027"/>
                    </a:lnTo>
                    <a:lnTo>
                      <a:pt x="1581834" y="1467827"/>
                    </a:lnTo>
                    <a:lnTo>
                      <a:pt x="1579340" y="1474627"/>
                    </a:lnTo>
                    <a:lnTo>
                      <a:pt x="1576620" y="1481200"/>
                    </a:lnTo>
                    <a:lnTo>
                      <a:pt x="1573220" y="1487773"/>
                    </a:lnTo>
                    <a:lnTo>
                      <a:pt x="1569593" y="1494119"/>
                    </a:lnTo>
                    <a:lnTo>
                      <a:pt x="1565512" y="1500239"/>
                    </a:lnTo>
                    <a:lnTo>
                      <a:pt x="1561432" y="1506132"/>
                    </a:lnTo>
                    <a:lnTo>
                      <a:pt x="1556445" y="1511572"/>
                    </a:lnTo>
                    <a:lnTo>
                      <a:pt x="1551231" y="1517011"/>
                    </a:lnTo>
                    <a:lnTo>
                      <a:pt x="1517228" y="1551237"/>
                    </a:lnTo>
                    <a:lnTo>
                      <a:pt x="1511787" y="1556223"/>
                    </a:lnTo>
                    <a:lnTo>
                      <a:pt x="1506120" y="1561209"/>
                    </a:lnTo>
                    <a:lnTo>
                      <a:pt x="1500226" y="1565516"/>
                    </a:lnTo>
                    <a:lnTo>
                      <a:pt x="1494106" y="1569369"/>
                    </a:lnTo>
                    <a:lnTo>
                      <a:pt x="1487985" y="1573222"/>
                    </a:lnTo>
                    <a:lnTo>
                      <a:pt x="1481411" y="1576395"/>
                    </a:lnTo>
                    <a:lnTo>
                      <a:pt x="1474837" y="1579342"/>
                    </a:lnTo>
                    <a:lnTo>
                      <a:pt x="1468036" y="1581835"/>
                    </a:lnTo>
                    <a:lnTo>
                      <a:pt x="1461009" y="1583875"/>
                    </a:lnTo>
                    <a:lnTo>
                      <a:pt x="1453982" y="1585688"/>
                    </a:lnTo>
                    <a:lnTo>
                      <a:pt x="1446728" y="1587275"/>
                    </a:lnTo>
                    <a:lnTo>
                      <a:pt x="1439474" y="1588182"/>
                    </a:lnTo>
                    <a:lnTo>
                      <a:pt x="1432219" y="1588862"/>
                    </a:lnTo>
                    <a:lnTo>
                      <a:pt x="1424739" y="1589088"/>
                    </a:lnTo>
                    <a:lnTo>
                      <a:pt x="1417258" y="1589088"/>
                    </a:lnTo>
                    <a:lnTo>
                      <a:pt x="1409777" y="1588862"/>
                    </a:lnTo>
                    <a:lnTo>
                      <a:pt x="1402296" y="1587955"/>
                    </a:lnTo>
                    <a:lnTo>
                      <a:pt x="1394589" y="1587048"/>
                    </a:lnTo>
                    <a:lnTo>
                      <a:pt x="1387108" y="1585235"/>
                    </a:lnTo>
                    <a:lnTo>
                      <a:pt x="1379628" y="1583422"/>
                    </a:lnTo>
                    <a:lnTo>
                      <a:pt x="1372147" y="1581382"/>
                    </a:lnTo>
                    <a:lnTo>
                      <a:pt x="1364666" y="1578662"/>
                    </a:lnTo>
                    <a:lnTo>
                      <a:pt x="1357186" y="1575942"/>
                    </a:lnTo>
                    <a:lnTo>
                      <a:pt x="1349931" y="1572769"/>
                    </a:lnTo>
                    <a:lnTo>
                      <a:pt x="1342677" y="1569142"/>
                    </a:lnTo>
                    <a:lnTo>
                      <a:pt x="1335423" y="1565289"/>
                    </a:lnTo>
                    <a:lnTo>
                      <a:pt x="1328396" y="1560756"/>
                    </a:lnTo>
                    <a:lnTo>
                      <a:pt x="1321369" y="1556223"/>
                    </a:lnTo>
                    <a:lnTo>
                      <a:pt x="1314568" y="1551237"/>
                    </a:lnTo>
                    <a:lnTo>
                      <a:pt x="1307994" y="1545797"/>
                    </a:lnTo>
                    <a:lnTo>
                      <a:pt x="1301420" y="1540130"/>
                    </a:lnTo>
                    <a:lnTo>
                      <a:pt x="1295299" y="1534011"/>
                    </a:lnTo>
                    <a:lnTo>
                      <a:pt x="921716" y="1160708"/>
                    </a:lnTo>
                    <a:lnTo>
                      <a:pt x="910835" y="1166827"/>
                    </a:lnTo>
                    <a:lnTo>
                      <a:pt x="899501" y="1172720"/>
                    </a:lnTo>
                    <a:lnTo>
                      <a:pt x="888166" y="1178160"/>
                    </a:lnTo>
                    <a:lnTo>
                      <a:pt x="876832" y="1183600"/>
                    </a:lnTo>
                    <a:lnTo>
                      <a:pt x="865498" y="1188586"/>
                    </a:lnTo>
                    <a:lnTo>
                      <a:pt x="853710" y="1193346"/>
                    </a:lnTo>
                    <a:lnTo>
                      <a:pt x="842375" y="1198106"/>
                    </a:lnTo>
                    <a:lnTo>
                      <a:pt x="830588" y="1202412"/>
                    </a:lnTo>
                    <a:lnTo>
                      <a:pt x="818573" y="1206492"/>
                    </a:lnTo>
                    <a:lnTo>
                      <a:pt x="807012" y="1210572"/>
                    </a:lnTo>
                    <a:lnTo>
                      <a:pt x="794997" y="1213972"/>
                    </a:lnTo>
                    <a:lnTo>
                      <a:pt x="783210" y="1217598"/>
                    </a:lnTo>
                    <a:lnTo>
                      <a:pt x="771195" y="1220545"/>
                    </a:lnTo>
                    <a:lnTo>
                      <a:pt x="758954" y="1223265"/>
                    </a:lnTo>
                    <a:lnTo>
                      <a:pt x="746939" y="1226211"/>
                    </a:lnTo>
                    <a:lnTo>
                      <a:pt x="734698" y="1228478"/>
                    </a:lnTo>
                    <a:lnTo>
                      <a:pt x="722457" y="1230518"/>
                    </a:lnTo>
                    <a:lnTo>
                      <a:pt x="710442" y="1232784"/>
                    </a:lnTo>
                    <a:lnTo>
                      <a:pt x="698201" y="1234371"/>
                    </a:lnTo>
                    <a:lnTo>
                      <a:pt x="685960" y="1235731"/>
                    </a:lnTo>
                    <a:lnTo>
                      <a:pt x="673719" y="1236864"/>
                    </a:lnTo>
                    <a:lnTo>
                      <a:pt x="661478" y="1237771"/>
                    </a:lnTo>
                    <a:lnTo>
                      <a:pt x="649010" y="1238451"/>
                    </a:lnTo>
                    <a:lnTo>
                      <a:pt x="636769" y="1239131"/>
                    </a:lnTo>
                    <a:lnTo>
                      <a:pt x="624527" y="1239357"/>
                    </a:lnTo>
                    <a:lnTo>
                      <a:pt x="612060" y="1239357"/>
                    </a:lnTo>
                    <a:lnTo>
                      <a:pt x="599818" y="1239131"/>
                    </a:lnTo>
                    <a:lnTo>
                      <a:pt x="587577" y="1238451"/>
                    </a:lnTo>
                    <a:lnTo>
                      <a:pt x="575109" y="1237544"/>
                    </a:lnTo>
                    <a:lnTo>
                      <a:pt x="562868" y="1236638"/>
                    </a:lnTo>
                    <a:lnTo>
                      <a:pt x="550627" y="1235504"/>
                    </a:lnTo>
                    <a:lnTo>
                      <a:pt x="538612" y="1233918"/>
                    </a:lnTo>
                    <a:lnTo>
                      <a:pt x="526145" y="1232331"/>
                    </a:lnTo>
                    <a:lnTo>
                      <a:pt x="513903" y="1230291"/>
                    </a:lnTo>
                    <a:lnTo>
                      <a:pt x="501889" y="1228025"/>
                    </a:lnTo>
                    <a:lnTo>
                      <a:pt x="489648" y="1225758"/>
                    </a:lnTo>
                    <a:lnTo>
                      <a:pt x="477633" y="1222811"/>
                    </a:lnTo>
                    <a:lnTo>
                      <a:pt x="465619" y="1219865"/>
                    </a:lnTo>
                    <a:lnTo>
                      <a:pt x="453604" y="1216918"/>
                    </a:lnTo>
                    <a:lnTo>
                      <a:pt x="441590" y="1213292"/>
                    </a:lnTo>
                    <a:lnTo>
                      <a:pt x="429802" y="1209665"/>
                    </a:lnTo>
                    <a:lnTo>
                      <a:pt x="418014" y="1205812"/>
                    </a:lnTo>
                    <a:lnTo>
                      <a:pt x="406453" y="1201506"/>
                    </a:lnTo>
                    <a:lnTo>
                      <a:pt x="394665" y="1197199"/>
                    </a:lnTo>
                    <a:lnTo>
                      <a:pt x="383104" y="1192440"/>
                    </a:lnTo>
                    <a:lnTo>
                      <a:pt x="371543" y="1187680"/>
                    </a:lnTo>
                    <a:lnTo>
                      <a:pt x="359982" y="1182467"/>
                    </a:lnTo>
                    <a:lnTo>
                      <a:pt x="348647" y="1177027"/>
                    </a:lnTo>
                    <a:lnTo>
                      <a:pt x="337313" y="1171360"/>
                    </a:lnTo>
                    <a:lnTo>
                      <a:pt x="326205" y="1165694"/>
                    </a:lnTo>
                    <a:lnTo>
                      <a:pt x="315097" y="1159574"/>
                    </a:lnTo>
                    <a:lnTo>
                      <a:pt x="304216" y="1153228"/>
                    </a:lnTo>
                    <a:lnTo>
                      <a:pt x="293109" y="1146655"/>
                    </a:lnTo>
                    <a:lnTo>
                      <a:pt x="282454" y="1139629"/>
                    </a:lnTo>
                    <a:lnTo>
                      <a:pt x="272026" y="1132602"/>
                    </a:lnTo>
                    <a:lnTo>
                      <a:pt x="261145" y="1125349"/>
                    </a:lnTo>
                    <a:lnTo>
                      <a:pt x="250944" y="1117643"/>
                    </a:lnTo>
                    <a:lnTo>
                      <a:pt x="240517" y="1109937"/>
                    </a:lnTo>
                    <a:lnTo>
                      <a:pt x="230316" y="1101777"/>
                    </a:lnTo>
                    <a:lnTo>
                      <a:pt x="220341" y="1093617"/>
                    </a:lnTo>
                    <a:lnTo>
                      <a:pt x="210367" y="1085004"/>
                    </a:lnTo>
                    <a:lnTo>
                      <a:pt x="200620" y="1076391"/>
                    </a:lnTo>
                    <a:lnTo>
                      <a:pt x="191099" y="1067099"/>
                    </a:lnTo>
                    <a:lnTo>
                      <a:pt x="181578" y="1057806"/>
                    </a:lnTo>
                    <a:lnTo>
                      <a:pt x="170470" y="1046473"/>
                    </a:lnTo>
                    <a:lnTo>
                      <a:pt x="159589" y="1034913"/>
                    </a:lnTo>
                    <a:lnTo>
                      <a:pt x="149161" y="1022901"/>
                    </a:lnTo>
                    <a:lnTo>
                      <a:pt x="139187" y="1010888"/>
                    </a:lnTo>
                    <a:lnTo>
                      <a:pt x="129213" y="998648"/>
                    </a:lnTo>
                    <a:lnTo>
                      <a:pt x="119918" y="985956"/>
                    </a:lnTo>
                    <a:lnTo>
                      <a:pt x="110851" y="973489"/>
                    </a:lnTo>
                    <a:lnTo>
                      <a:pt x="102237" y="960797"/>
                    </a:lnTo>
                    <a:lnTo>
                      <a:pt x="93849" y="947651"/>
                    </a:lnTo>
                    <a:lnTo>
                      <a:pt x="85688" y="934505"/>
                    </a:lnTo>
                    <a:lnTo>
                      <a:pt x="78208" y="921358"/>
                    </a:lnTo>
                    <a:lnTo>
                      <a:pt x="70954" y="907986"/>
                    </a:lnTo>
                    <a:lnTo>
                      <a:pt x="64153" y="894386"/>
                    </a:lnTo>
                    <a:lnTo>
                      <a:pt x="57579" y="880560"/>
                    </a:lnTo>
                    <a:lnTo>
                      <a:pt x="51232" y="866734"/>
                    </a:lnTo>
                    <a:lnTo>
                      <a:pt x="45338" y="852908"/>
                    </a:lnTo>
                    <a:lnTo>
                      <a:pt x="39897" y="838856"/>
                    </a:lnTo>
                    <a:lnTo>
                      <a:pt x="34910" y="824803"/>
                    </a:lnTo>
                    <a:lnTo>
                      <a:pt x="30150" y="810524"/>
                    </a:lnTo>
                    <a:lnTo>
                      <a:pt x="25616" y="796244"/>
                    </a:lnTo>
                    <a:lnTo>
                      <a:pt x="21535" y="781738"/>
                    </a:lnTo>
                    <a:lnTo>
                      <a:pt x="17682" y="767232"/>
                    </a:lnTo>
                    <a:lnTo>
                      <a:pt x="14508" y="752726"/>
                    </a:lnTo>
                    <a:lnTo>
                      <a:pt x="11334" y="738220"/>
                    </a:lnTo>
                    <a:lnTo>
                      <a:pt x="8841" y="723487"/>
                    </a:lnTo>
                    <a:lnTo>
                      <a:pt x="6574" y="708755"/>
                    </a:lnTo>
                    <a:lnTo>
                      <a:pt x="4307" y="694022"/>
                    </a:lnTo>
                    <a:lnTo>
                      <a:pt x="2947" y="679289"/>
                    </a:lnTo>
                    <a:lnTo>
                      <a:pt x="1587" y="664330"/>
                    </a:lnTo>
                    <a:lnTo>
                      <a:pt x="680" y="649597"/>
                    </a:lnTo>
                    <a:lnTo>
                      <a:pt x="227" y="634638"/>
                    </a:lnTo>
                    <a:lnTo>
                      <a:pt x="0" y="619905"/>
                    </a:lnTo>
                    <a:lnTo>
                      <a:pt x="227" y="604946"/>
                    </a:lnTo>
                    <a:lnTo>
                      <a:pt x="680" y="589987"/>
                    </a:lnTo>
                    <a:lnTo>
                      <a:pt x="1587" y="575254"/>
                    </a:lnTo>
                    <a:lnTo>
                      <a:pt x="2947" y="560295"/>
                    </a:lnTo>
                    <a:lnTo>
                      <a:pt x="4307" y="545562"/>
                    </a:lnTo>
                    <a:lnTo>
                      <a:pt x="6574" y="530830"/>
                    </a:lnTo>
                    <a:lnTo>
                      <a:pt x="8841" y="516097"/>
                    </a:lnTo>
                    <a:lnTo>
                      <a:pt x="11334" y="501364"/>
                    </a:lnTo>
                    <a:lnTo>
                      <a:pt x="14508" y="486858"/>
                    </a:lnTo>
                    <a:lnTo>
                      <a:pt x="17682" y="472352"/>
                    </a:lnTo>
                    <a:lnTo>
                      <a:pt x="21535" y="457846"/>
                    </a:lnTo>
                    <a:lnTo>
                      <a:pt x="25616" y="443340"/>
                    </a:lnTo>
                    <a:lnTo>
                      <a:pt x="30150" y="429061"/>
                    </a:lnTo>
                    <a:lnTo>
                      <a:pt x="34910" y="414781"/>
                    </a:lnTo>
                    <a:lnTo>
                      <a:pt x="39897" y="400502"/>
                    </a:lnTo>
                    <a:lnTo>
                      <a:pt x="45338" y="386449"/>
                    </a:lnTo>
                    <a:lnTo>
                      <a:pt x="51232" y="372850"/>
                    </a:lnTo>
                    <a:lnTo>
                      <a:pt x="57579" y="359024"/>
                    </a:lnTo>
                    <a:lnTo>
                      <a:pt x="64153" y="345198"/>
                    </a:lnTo>
                    <a:lnTo>
                      <a:pt x="70954" y="331599"/>
                    </a:lnTo>
                    <a:lnTo>
                      <a:pt x="78208" y="318226"/>
                    </a:lnTo>
                    <a:lnTo>
                      <a:pt x="85688" y="304853"/>
                    </a:lnTo>
                    <a:lnTo>
                      <a:pt x="93849" y="291934"/>
                    </a:lnTo>
                    <a:lnTo>
                      <a:pt x="102237" y="278788"/>
                    </a:lnTo>
                    <a:lnTo>
                      <a:pt x="110851" y="266095"/>
                    </a:lnTo>
                    <a:lnTo>
                      <a:pt x="119918" y="253402"/>
                    </a:lnTo>
                    <a:lnTo>
                      <a:pt x="129213" y="240936"/>
                    </a:lnTo>
                    <a:lnTo>
                      <a:pt x="139187" y="228697"/>
                    </a:lnTo>
                    <a:lnTo>
                      <a:pt x="149161" y="216457"/>
                    </a:lnTo>
                    <a:lnTo>
                      <a:pt x="159589" y="204671"/>
                    </a:lnTo>
                    <a:lnTo>
                      <a:pt x="170470" y="193111"/>
                    </a:lnTo>
                    <a:lnTo>
                      <a:pt x="181578" y="181779"/>
                    </a:lnTo>
                    <a:lnTo>
                      <a:pt x="193139" y="170446"/>
                    </a:lnTo>
                    <a:lnTo>
                      <a:pt x="204473" y="159793"/>
                    </a:lnTo>
                    <a:lnTo>
                      <a:pt x="216488" y="149140"/>
                    </a:lnTo>
                    <a:lnTo>
                      <a:pt x="228729" y="139167"/>
                    </a:lnTo>
                    <a:lnTo>
                      <a:pt x="240743" y="129421"/>
                    </a:lnTo>
                    <a:lnTo>
                      <a:pt x="253438" y="119901"/>
                    </a:lnTo>
                    <a:lnTo>
                      <a:pt x="266133" y="110835"/>
                    </a:lnTo>
                    <a:lnTo>
                      <a:pt x="278600" y="102222"/>
                    </a:lnTo>
                    <a:lnTo>
                      <a:pt x="291748" y="93836"/>
                    </a:lnTo>
                    <a:lnTo>
                      <a:pt x="304896" y="85903"/>
                    </a:lnTo>
                    <a:lnTo>
                      <a:pt x="318271" y="78423"/>
                    </a:lnTo>
                    <a:lnTo>
                      <a:pt x="331646" y="71170"/>
                    </a:lnTo>
                    <a:lnTo>
                      <a:pt x="345020" y="64144"/>
                    </a:lnTo>
                    <a:lnTo>
                      <a:pt x="358848" y="57571"/>
                    </a:lnTo>
                    <a:lnTo>
                      <a:pt x="372676" y="51451"/>
                    </a:lnTo>
                    <a:lnTo>
                      <a:pt x="386504" y="45558"/>
                    </a:lnTo>
                    <a:lnTo>
                      <a:pt x="400559" y="40118"/>
                    </a:lnTo>
                    <a:lnTo>
                      <a:pt x="414840" y="34905"/>
                    </a:lnTo>
                    <a:lnTo>
                      <a:pt x="429122" y="30146"/>
                    </a:lnTo>
                    <a:lnTo>
                      <a:pt x="443403" y="25839"/>
                    </a:lnTo>
                    <a:lnTo>
                      <a:pt x="457911" y="21533"/>
                    </a:lnTo>
                    <a:lnTo>
                      <a:pt x="472419" y="17906"/>
                    </a:lnTo>
                    <a:lnTo>
                      <a:pt x="486927" y="14506"/>
                    </a:lnTo>
                    <a:lnTo>
                      <a:pt x="501435" y="11560"/>
                    </a:lnTo>
                    <a:lnTo>
                      <a:pt x="515944" y="8840"/>
                    </a:lnTo>
                    <a:lnTo>
                      <a:pt x="530678" y="6573"/>
                    </a:lnTo>
                    <a:lnTo>
                      <a:pt x="545413" y="4533"/>
                    </a:lnTo>
                    <a:lnTo>
                      <a:pt x="560148" y="3173"/>
                    </a:lnTo>
                    <a:lnTo>
                      <a:pt x="575109" y="1587"/>
                    </a:lnTo>
                    <a:lnTo>
                      <a:pt x="589844" y="907"/>
                    </a:lnTo>
                    <a:lnTo>
                      <a:pt x="604806" y="227"/>
                    </a:lnTo>
                    <a:lnTo>
                      <a:pt x="619540" y="0"/>
                    </a:lnTo>
                    <a:close/>
                  </a:path>
                </a:pathLst>
              </a:custGeom>
              <a:solidFill>
                <a:srgbClr val="FFFFFF"/>
              </a:solidFill>
              <a:ln>
                <a:noFill/>
              </a:ln>
            </p:spPr>
            <p:txBody>
              <a:bodyPr wrap="square" lIns="91440" tIns="45720" rIns="91440" bIns="45720" anchor="ctr">
                <a:normAutofit lnSpcReduction="10000"/>
                <a:scene3d>
                  <a:camera prst="orthographicFront"/>
                  <a:lightRig rig="threePt" dir="t"/>
                </a:scene3d>
                <a:sp3d>
                  <a:contourClr>
                    <a:srgbClr val="FFFFFF"/>
                  </a:contourClr>
                </a:sp3d>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sp>
            <p:nvSpPr>
              <p:cNvPr id="16" name="Bullet3"/>
              <p:cNvSpPr txBox="1"/>
              <p:nvPr>
                <p:custDataLst>
                  <p:tags r:id="rId20"/>
                </p:custDataLst>
              </p:nvPr>
            </p:nvSpPr>
            <p:spPr bwMode="auto">
              <a:xfrm>
                <a:off x="6205734" y="4364339"/>
                <a:ext cx="2542477" cy="52118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1">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spcBef>
                    <a:spcPct val="0"/>
                  </a:spcBef>
                  <a:spcAft>
                    <a:spcPts val="0"/>
                  </a:spcAft>
                  <a:buClrTx/>
                  <a:buSzTx/>
                  <a:buFontTx/>
                  <a:buNone/>
                  <a:defRPr/>
                </a:pPr>
                <a:r>
                  <a:rPr kumimoji="0" lang="zh-CN" altLang="en-US" b="1" i="0" u="none" strike="noStrike" kern="1200" cap="none" spc="0" normalizeH="0" baseline="0" noProof="0" dirty="0">
                    <a:ln>
                      <a:noFill/>
                    </a:ln>
                    <a:effectLst/>
                    <a:uLnTx/>
                    <a:uFillTx/>
                  </a:rPr>
                  <a:t>单击此处添加标题</a:t>
                </a:r>
                <a:endParaRPr kumimoji="0" lang="en-US" altLang="zh-CN" b="1" i="0" u="none" strike="noStrike" kern="1200" cap="none" spc="0" normalizeH="0" baseline="0" noProof="0" dirty="0">
                  <a:ln>
                    <a:noFill/>
                  </a:ln>
                  <a:effectLst/>
                  <a:uLnTx/>
                  <a:uFillTx/>
                </a:endParaRPr>
              </a:p>
            </p:txBody>
          </p:sp>
          <p:sp>
            <p:nvSpPr>
              <p:cNvPr id="17" name="Text3"/>
              <p:cNvSpPr/>
              <p:nvPr>
                <p:custDataLst>
                  <p:tags r:id="rId21"/>
                </p:custDataLst>
              </p:nvPr>
            </p:nvSpPr>
            <p:spPr bwMode="auto">
              <a:xfrm>
                <a:off x="6205734" y="4885525"/>
                <a:ext cx="2542477" cy="99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lnSpc>
                    <a:spcPct val="120000"/>
                  </a:lnSpc>
                  <a:spcBef>
                    <a:spcPts val="0"/>
                  </a:spcBef>
                  <a:spcAft>
                    <a:spcPts val="0"/>
                  </a:spcAft>
                  <a:buClrTx/>
                  <a:buSzTx/>
                  <a:buFontTx/>
                  <a:buNone/>
                  <a:defRPr/>
                </a:pPr>
                <a:r>
                  <a:rPr kumimoji="0" sz="1200" i="0" u="none" strike="noStrike" kern="1200" cap="none" spc="0" normalizeH="0" baseline="0" noProof="0">
                    <a:ln>
                      <a:noFill/>
                    </a:ln>
                    <a:effectLst/>
                    <a:uLnTx/>
                    <a:uFillTx/>
                  </a:rPr>
                  <a:t>请输入文本内容请输入文本内容</a:t>
                </a:r>
                <a:endParaRPr kumimoji="0" sz="1200" i="0" u="none" strike="noStrike" kern="1200" cap="none" spc="0" normalizeH="0" baseline="0" noProof="0">
                  <a:ln>
                    <a:noFill/>
                  </a:ln>
                  <a:effectLst/>
                  <a:uLnTx/>
                  <a:uFillTx/>
                </a:endParaRPr>
              </a:p>
            </p:txBody>
          </p:sp>
        </p:grpSp>
        <p:grpSp>
          <p:nvGrpSpPr>
            <p:cNvPr id="8" name="组合 7"/>
            <p:cNvGrpSpPr/>
            <p:nvPr/>
          </p:nvGrpSpPr>
          <p:grpSpPr>
            <a:xfrm>
              <a:off x="8978011" y="2716117"/>
              <a:ext cx="2542477" cy="3167158"/>
              <a:chOff x="8978011" y="2716117"/>
              <a:chExt cx="2542477" cy="3167158"/>
            </a:xfrm>
          </p:grpSpPr>
          <p:sp>
            <p:nvSpPr>
              <p:cNvPr id="10" name="Bullet4"/>
              <p:cNvSpPr txBox="1"/>
              <p:nvPr>
                <p:custDataLst>
                  <p:tags r:id="rId22"/>
                </p:custDataLst>
              </p:nvPr>
            </p:nvSpPr>
            <p:spPr bwMode="auto">
              <a:xfrm>
                <a:off x="8978011" y="4367513"/>
                <a:ext cx="2542477" cy="52118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1">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spcBef>
                    <a:spcPct val="0"/>
                  </a:spcBef>
                  <a:spcAft>
                    <a:spcPts val="0"/>
                  </a:spcAft>
                  <a:buClrTx/>
                  <a:buSzTx/>
                  <a:buFontTx/>
                  <a:buNone/>
                  <a:defRPr/>
                </a:pPr>
                <a:r>
                  <a:rPr kumimoji="0" lang="zh-CN" altLang="en-US" b="1" i="0" u="none" strike="noStrike" kern="1200" cap="none" spc="0" normalizeH="0" baseline="0" noProof="0" dirty="0">
                    <a:ln>
                      <a:noFill/>
                    </a:ln>
                    <a:effectLst/>
                    <a:uLnTx/>
                    <a:uFillTx/>
                  </a:rPr>
                  <a:t>单击此处添加标题</a:t>
                </a:r>
                <a:endParaRPr kumimoji="0" lang="en-US" altLang="zh-CN" b="1" i="0" u="none" strike="noStrike" kern="1200" cap="none" spc="0" normalizeH="0" baseline="0" noProof="0" dirty="0">
                  <a:ln>
                    <a:noFill/>
                  </a:ln>
                  <a:effectLst/>
                  <a:uLnTx/>
                  <a:uFillTx/>
                </a:endParaRPr>
              </a:p>
            </p:txBody>
          </p:sp>
          <p:sp>
            <p:nvSpPr>
              <p:cNvPr id="11" name="Text4"/>
              <p:cNvSpPr/>
              <p:nvPr>
                <p:custDataLst>
                  <p:tags r:id="rId23"/>
                </p:custDataLst>
              </p:nvPr>
            </p:nvSpPr>
            <p:spPr bwMode="auto">
              <a:xfrm>
                <a:off x="8978011" y="4888699"/>
                <a:ext cx="2542477" cy="99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lnSpc>
                    <a:spcPct val="120000"/>
                  </a:lnSpc>
                  <a:spcBef>
                    <a:spcPts val="0"/>
                  </a:spcBef>
                  <a:spcAft>
                    <a:spcPts val="0"/>
                  </a:spcAft>
                  <a:buClrTx/>
                  <a:buSzTx/>
                  <a:buFontTx/>
                  <a:buNone/>
                  <a:defRPr/>
                </a:pPr>
                <a:r>
                  <a:rPr kumimoji="0" sz="1200" i="0" u="none" strike="noStrike" kern="1200" cap="none" spc="0" normalizeH="0" baseline="0" noProof="0">
                    <a:ln>
                      <a:noFill/>
                    </a:ln>
                    <a:effectLst/>
                    <a:uLnTx/>
                    <a:uFillTx/>
                  </a:rPr>
                  <a:t>请输入文本内容请输入文本内容</a:t>
                </a:r>
                <a:endParaRPr kumimoji="0" sz="1200" i="0" u="none" strike="noStrike" kern="1200" cap="none" spc="0" normalizeH="0" baseline="0" noProof="0">
                  <a:ln>
                    <a:noFill/>
                  </a:ln>
                  <a:effectLst/>
                  <a:uLnTx/>
                  <a:uFillTx/>
                </a:endParaRPr>
              </a:p>
            </p:txBody>
          </p:sp>
          <p:sp>
            <p:nvSpPr>
              <p:cNvPr id="12" name="IconBackground4"/>
              <p:cNvSpPr/>
              <p:nvPr>
                <p:custDataLst>
                  <p:tags r:id="rId24"/>
                </p:custDataLst>
              </p:nvPr>
            </p:nvSpPr>
            <p:spPr>
              <a:xfrm flipH="1">
                <a:off x="9832725" y="2716117"/>
                <a:ext cx="833053" cy="833053"/>
              </a:xfrm>
              <a:prstGeom prst="ellipse">
                <a:avLst/>
              </a:prstGeom>
              <a:solidFill>
                <a:schemeClr val="accent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sp>
            <p:nvSpPr>
              <p:cNvPr id="13" name="Icon4"/>
              <p:cNvSpPr/>
              <p:nvPr>
                <p:custDataLst>
                  <p:tags r:id="rId25"/>
                </p:custDataLst>
              </p:nvPr>
            </p:nvSpPr>
            <p:spPr bwMode="auto">
              <a:xfrm>
                <a:off x="10060339" y="2944524"/>
                <a:ext cx="377825" cy="376239"/>
              </a:xfrm>
              <a:custGeom>
                <a:avLst/>
                <a:gdLst>
                  <a:gd name="T0" fmla="*/ 984018 w 1589088"/>
                  <a:gd name="T1" fmla="*/ 589506 h 1589088"/>
                  <a:gd name="T2" fmla="*/ 955171 w 1589088"/>
                  <a:gd name="T3" fmla="*/ 645802 h 1589088"/>
                  <a:gd name="T4" fmla="*/ 898294 w 1589088"/>
                  <a:gd name="T5" fmla="*/ 673272 h 1589088"/>
                  <a:gd name="T6" fmla="*/ 881422 w 1589088"/>
                  <a:gd name="T7" fmla="*/ 964824 h 1589088"/>
                  <a:gd name="T8" fmla="*/ 873530 w 1589088"/>
                  <a:gd name="T9" fmla="*/ 1040159 h 1589088"/>
                  <a:gd name="T10" fmla="*/ 824817 w 1589088"/>
                  <a:gd name="T11" fmla="*/ 1084490 h 1589088"/>
                  <a:gd name="T12" fmla="*/ 756238 w 1589088"/>
                  <a:gd name="T13" fmla="*/ 1088026 h 1589088"/>
                  <a:gd name="T14" fmla="*/ 703444 w 1589088"/>
                  <a:gd name="T15" fmla="*/ 1048590 h 1589088"/>
                  <a:gd name="T16" fmla="*/ 686571 w 1589088"/>
                  <a:gd name="T17" fmla="*/ 985493 h 1589088"/>
                  <a:gd name="T18" fmla="*/ 486007 w 1589088"/>
                  <a:gd name="T19" fmla="*/ 893024 h 1589088"/>
                  <a:gd name="T20" fmla="*/ 398106 w 1589088"/>
                  <a:gd name="T21" fmla="*/ 820680 h 1589088"/>
                  <a:gd name="T22" fmla="*/ 402189 w 1589088"/>
                  <a:gd name="T23" fmla="*/ 755134 h 1589088"/>
                  <a:gd name="T24" fmla="*/ 446547 w 1589088"/>
                  <a:gd name="T25" fmla="*/ 706452 h 1589088"/>
                  <a:gd name="T26" fmla="*/ 514037 w 1589088"/>
                  <a:gd name="T27" fmla="*/ 696389 h 1589088"/>
                  <a:gd name="T28" fmla="*/ 570641 w 1589088"/>
                  <a:gd name="T29" fmla="*/ 730385 h 1589088"/>
                  <a:gd name="T30" fmla="*/ 593501 w 1589088"/>
                  <a:gd name="T31" fmla="*/ 794027 h 1589088"/>
                  <a:gd name="T32" fmla="*/ 818558 w 1589088"/>
                  <a:gd name="T33" fmla="*/ 648522 h 1589088"/>
                  <a:gd name="T34" fmla="*/ 785901 w 1589088"/>
                  <a:gd name="T35" fmla="*/ 575091 h 1589088"/>
                  <a:gd name="T36" fmla="*/ 808761 w 1589088"/>
                  <a:gd name="T37" fmla="*/ 511721 h 1589088"/>
                  <a:gd name="T38" fmla="*/ 865365 w 1589088"/>
                  <a:gd name="T39" fmla="*/ 477726 h 1589088"/>
                  <a:gd name="T40" fmla="*/ 728574 w 1589088"/>
                  <a:gd name="T41" fmla="*/ 144010 h 1589088"/>
                  <a:gd name="T42" fmla="*/ 531280 w 1589088"/>
                  <a:gd name="T43" fmla="*/ 182593 h 1589088"/>
                  <a:gd name="T44" fmla="*/ 353281 w 1589088"/>
                  <a:gd name="T45" fmla="*/ 288291 h 1589088"/>
                  <a:gd name="T46" fmla="*/ 219577 w 1589088"/>
                  <a:gd name="T47" fmla="*/ 451592 h 1589088"/>
                  <a:gd name="T48" fmla="*/ 152454 w 1589088"/>
                  <a:gd name="T49" fmla="*/ 642880 h 1589088"/>
                  <a:gd name="T50" fmla="*/ 152454 w 1589088"/>
                  <a:gd name="T51" fmla="*/ 843135 h 1589088"/>
                  <a:gd name="T52" fmla="*/ 219577 w 1589088"/>
                  <a:gd name="T53" fmla="*/ 1034422 h 1589088"/>
                  <a:gd name="T54" fmla="*/ 353281 w 1589088"/>
                  <a:gd name="T55" fmla="*/ 1197724 h 1589088"/>
                  <a:gd name="T56" fmla="*/ 531280 w 1589088"/>
                  <a:gd name="T57" fmla="*/ 1303421 h 1589088"/>
                  <a:gd name="T58" fmla="*/ 728574 w 1589088"/>
                  <a:gd name="T59" fmla="*/ 1341734 h 1589088"/>
                  <a:gd name="T60" fmla="*/ 927227 w 1589088"/>
                  <a:gd name="T61" fmla="*/ 1312931 h 1589088"/>
                  <a:gd name="T62" fmla="*/ 1109302 w 1589088"/>
                  <a:gd name="T63" fmla="*/ 1217015 h 1589088"/>
                  <a:gd name="T64" fmla="*/ 1251431 w 1589088"/>
                  <a:gd name="T65" fmla="*/ 1059964 h 1589088"/>
                  <a:gd name="T66" fmla="*/ 1328065 w 1589088"/>
                  <a:gd name="T67" fmla="*/ 871393 h 1589088"/>
                  <a:gd name="T68" fmla="*/ 1337576 w 1589088"/>
                  <a:gd name="T69" fmla="*/ 671410 h 1589088"/>
                  <a:gd name="T70" fmla="*/ 1280237 w 1589088"/>
                  <a:gd name="T71" fmla="*/ 477677 h 1589088"/>
                  <a:gd name="T72" fmla="*/ 1155500 w 1589088"/>
                  <a:gd name="T73" fmla="*/ 308670 h 1589088"/>
                  <a:gd name="T74" fmla="*/ 981849 w 1589088"/>
                  <a:gd name="T75" fmla="*/ 193462 h 1589088"/>
                  <a:gd name="T76" fmla="*/ 785915 w 1589088"/>
                  <a:gd name="T77" fmla="*/ 145640 h 1589088"/>
                  <a:gd name="T78" fmla="*/ 902226 w 1589088"/>
                  <a:gd name="T79" fmla="*/ 17390 h 1589088"/>
                  <a:gd name="T80" fmla="*/ 1136207 w 1589088"/>
                  <a:gd name="T81" fmla="*/ 112491 h 1589088"/>
                  <a:gd name="T82" fmla="*/ 1320999 w 1589088"/>
                  <a:gd name="T83" fmla="*/ 276063 h 1589088"/>
                  <a:gd name="T84" fmla="*/ 1429702 w 1589088"/>
                  <a:gd name="T85" fmla="*/ 459201 h 1589088"/>
                  <a:gd name="T86" fmla="*/ 1481334 w 1589088"/>
                  <a:gd name="T87" fmla="*/ 660270 h 1589088"/>
                  <a:gd name="T88" fmla="*/ 1475356 w 1589088"/>
                  <a:gd name="T89" fmla="*/ 866502 h 1589088"/>
                  <a:gd name="T90" fmla="*/ 1412581 w 1589088"/>
                  <a:gd name="T91" fmla="*/ 1064855 h 1589088"/>
                  <a:gd name="T92" fmla="*/ 1892771 w 1589088"/>
                  <a:gd name="T93" fmla="*/ 1636001 h 1589088"/>
                  <a:gd name="T94" fmla="*/ 1896304 w 1589088"/>
                  <a:gd name="T95" fmla="*/ 1759632 h 1589088"/>
                  <a:gd name="T96" fmla="*/ 1783798 w 1589088"/>
                  <a:gd name="T97" fmla="*/ 1885980 h 1589088"/>
                  <a:gd name="T98" fmla="*/ 1662866 w 1589088"/>
                  <a:gd name="T99" fmla="*/ 1900381 h 1589088"/>
                  <a:gd name="T100" fmla="*/ 1104954 w 1589088"/>
                  <a:gd name="T101" fmla="*/ 1391458 h 1589088"/>
                  <a:gd name="T102" fmla="*/ 909835 w 1589088"/>
                  <a:gd name="T103" fmla="*/ 1466451 h 1589088"/>
                  <a:gd name="T104" fmla="*/ 704388 w 1589088"/>
                  <a:gd name="T105" fmla="*/ 1484656 h 1589088"/>
                  <a:gd name="T106" fmla="*/ 501116 w 1589088"/>
                  <a:gd name="T107" fmla="*/ 1445528 h 1589088"/>
                  <a:gd name="T108" fmla="*/ 313061 w 1589088"/>
                  <a:gd name="T109" fmla="*/ 1349069 h 1589088"/>
                  <a:gd name="T110" fmla="*/ 143758 w 1589088"/>
                  <a:gd name="T111" fmla="*/ 1181965 h 1589088"/>
                  <a:gd name="T112" fmla="*/ 30708 w 1589088"/>
                  <a:gd name="T113" fmla="*/ 954538 h 1589088"/>
                  <a:gd name="T114" fmla="*/ 815 w 1589088"/>
                  <a:gd name="T115" fmla="*/ 707277 h 1589088"/>
                  <a:gd name="T116" fmla="*/ 54351 w 1589088"/>
                  <a:gd name="T117" fmla="*/ 463275 h 1589088"/>
                  <a:gd name="T118" fmla="*/ 191315 w 1589088"/>
                  <a:gd name="T119" fmla="*/ 245360 h 1589088"/>
                  <a:gd name="T120" fmla="*/ 397577 w 1589088"/>
                  <a:gd name="T121" fmla="*/ 85319 h 1589088"/>
                  <a:gd name="T122" fmla="*/ 636177 w 1589088"/>
                  <a:gd name="T123" fmla="*/ 7880 h 15890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89088" h="1589088">
                    <a:moveTo>
                      <a:pt x="916859" y="288925"/>
                    </a:moveTo>
                    <a:lnTo>
                      <a:pt x="954088" y="332030"/>
                    </a:lnTo>
                    <a:lnTo>
                      <a:pt x="816067" y="450682"/>
                    </a:lnTo>
                    <a:lnTo>
                      <a:pt x="817430" y="454085"/>
                    </a:lnTo>
                    <a:lnTo>
                      <a:pt x="818338" y="457488"/>
                    </a:lnTo>
                    <a:lnTo>
                      <a:pt x="819246" y="461118"/>
                    </a:lnTo>
                    <a:lnTo>
                      <a:pt x="820381" y="464748"/>
                    </a:lnTo>
                    <a:lnTo>
                      <a:pt x="820835" y="468378"/>
                    </a:lnTo>
                    <a:lnTo>
                      <a:pt x="821289" y="472008"/>
                    </a:lnTo>
                    <a:lnTo>
                      <a:pt x="821743" y="475865"/>
                    </a:lnTo>
                    <a:lnTo>
                      <a:pt x="821743" y="479722"/>
                    </a:lnTo>
                    <a:lnTo>
                      <a:pt x="821743" y="483805"/>
                    </a:lnTo>
                    <a:lnTo>
                      <a:pt x="821289" y="487662"/>
                    </a:lnTo>
                    <a:lnTo>
                      <a:pt x="820835" y="491746"/>
                    </a:lnTo>
                    <a:lnTo>
                      <a:pt x="820154" y="495602"/>
                    </a:lnTo>
                    <a:lnTo>
                      <a:pt x="819246" y="499459"/>
                    </a:lnTo>
                    <a:lnTo>
                      <a:pt x="818338" y="503089"/>
                    </a:lnTo>
                    <a:lnTo>
                      <a:pt x="816976" y="506946"/>
                    </a:lnTo>
                    <a:lnTo>
                      <a:pt x="815840" y="510349"/>
                    </a:lnTo>
                    <a:lnTo>
                      <a:pt x="814251" y="513979"/>
                    </a:lnTo>
                    <a:lnTo>
                      <a:pt x="812662" y="517382"/>
                    </a:lnTo>
                    <a:lnTo>
                      <a:pt x="810619" y="520785"/>
                    </a:lnTo>
                    <a:lnTo>
                      <a:pt x="808803" y="523961"/>
                    </a:lnTo>
                    <a:lnTo>
                      <a:pt x="806760" y="527137"/>
                    </a:lnTo>
                    <a:lnTo>
                      <a:pt x="804263" y="530313"/>
                    </a:lnTo>
                    <a:lnTo>
                      <a:pt x="801993" y="533036"/>
                    </a:lnTo>
                    <a:lnTo>
                      <a:pt x="799496" y="535985"/>
                    </a:lnTo>
                    <a:lnTo>
                      <a:pt x="796772" y="538707"/>
                    </a:lnTo>
                    <a:lnTo>
                      <a:pt x="794048" y="541203"/>
                    </a:lnTo>
                    <a:lnTo>
                      <a:pt x="791324" y="543698"/>
                    </a:lnTo>
                    <a:lnTo>
                      <a:pt x="788146" y="545967"/>
                    </a:lnTo>
                    <a:lnTo>
                      <a:pt x="785194" y="548009"/>
                    </a:lnTo>
                    <a:lnTo>
                      <a:pt x="781789" y="550051"/>
                    </a:lnTo>
                    <a:lnTo>
                      <a:pt x="778611" y="552093"/>
                    </a:lnTo>
                    <a:lnTo>
                      <a:pt x="775433" y="553908"/>
                    </a:lnTo>
                    <a:lnTo>
                      <a:pt x="771801" y="555496"/>
                    </a:lnTo>
                    <a:lnTo>
                      <a:pt x="768396" y="556857"/>
                    </a:lnTo>
                    <a:lnTo>
                      <a:pt x="764537" y="558218"/>
                    </a:lnTo>
                    <a:lnTo>
                      <a:pt x="760905" y="559352"/>
                    </a:lnTo>
                    <a:lnTo>
                      <a:pt x="757046" y="560260"/>
                    </a:lnTo>
                    <a:lnTo>
                      <a:pt x="753413" y="560940"/>
                    </a:lnTo>
                    <a:lnTo>
                      <a:pt x="749327" y="561621"/>
                    </a:lnTo>
                    <a:lnTo>
                      <a:pt x="745241" y="562075"/>
                    </a:lnTo>
                    <a:lnTo>
                      <a:pt x="692121" y="754005"/>
                    </a:lnTo>
                    <a:lnTo>
                      <a:pt x="697343" y="756728"/>
                    </a:lnTo>
                    <a:lnTo>
                      <a:pt x="702110" y="759904"/>
                    </a:lnTo>
                    <a:lnTo>
                      <a:pt x="706650" y="763080"/>
                    </a:lnTo>
                    <a:lnTo>
                      <a:pt x="710963" y="766937"/>
                    </a:lnTo>
                    <a:lnTo>
                      <a:pt x="715049" y="770794"/>
                    </a:lnTo>
                    <a:lnTo>
                      <a:pt x="718908" y="774877"/>
                    </a:lnTo>
                    <a:lnTo>
                      <a:pt x="722313" y="779188"/>
                    </a:lnTo>
                    <a:lnTo>
                      <a:pt x="725718" y="783952"/>
                    </a:lnTo>
                    <a:lnTo>
                      <a:pt x="728670" y="788943"/>
                    </a:lnTo>
                    <a:lnTo>
                      <a:pt x="731167" y="793934"/>
                    </a:lnTo>
                    <a:lnTo>
                      <a:pt x="733437" y="799379"/>
                    </a:lnTo>
                    <a:lnTo>
                      <a:pt x="735253" y="804824"/>
                    </a:lnTo>
                    <a:lnTo>
                      <a:pt x="736615" y="810496"/>
                    </a:lnTo>
                    <a:lnTo>
                      <a:pt x="737750" y="816167"/>
                    </a:lnTo>
                    <a:lnTo>
                      <a:pt x="738431" y="822066"/>
                    </a:lnTo>
                    <a:lnTo>
                      <a:pt x="738658" y="828191"/>
                    </a:lnTo>
                    <a:lnTo>
                      <a:pt x="738658" y="832729"/>
                    </a:lnTo>
                    <a:lnTo>
                      <a:pt x="738431" y="836812"/>
                    </a:lnTo>
                    <a:lnTo>
                      <a:pt x="737523" y="840896"/>
                    </a:lnTo>
                    <a:lnTo>
                      <a:pt x="736842" y="844980"/>
                    </a:lnTo>
                    <a:lnTo>
                      <a:pt x="735934" y="849063"/>
                    </a:lnTo>
                    <a:lnTo>
                      <a:pt x="734799" y="852920"/>
                    </a:lnTo>
                    <a:lnTo>
                      <a:pt x="733664" y="856777"/>
                    </a:lnTo>
                    <a:lnTo>
                      <a:pt x="732075" y="860407"/>
                    </a:lnTo>
                    <a:lnTo>
                      <a:pt x="730259" y="864263"/>
                    </a:lnTo>
                    <a:lnTo>
                      <a:pt x="728670" y="867666"/>
                    </a:lnTo>
                    <a:lnTo>
                      <a:pt x="726626" y="871296"/>
                    </a:lnTo>
                    <a:lnTo>
                      <a:pt x="724583" y="874699"/>
                    </a:lnTo>
                    <a:lnTo>
                      <a:pt x="722086" y="877876"/>
                    </a:lnTo>
                    <a:lnTo>
                      <a:pt x="719589" y="881052"/>
                    </a:lnTo>
                    <a:lnTo>
                      <a:pt x="717092" y="884228"/>
                    </a:lnTo>
                    <a:lnTo>
                      <a:pt x="714141" y="886950"/>
                    </a:lnTo>
                    <a:lnTo>
                      <a:pt x="711417" y="889673"/>
                    </a:lnTo>
                    <a:lnTo>
                      <a:pt x="708239" y="892395"/>
                    </a:lnTo>
                    <a:lnTo>
                      <a:pt x="705288" y="894891"/>
                    </a:lnTo>
                    <a:lnTo>
                      <a:pt x="702110" y="896933"/>
                    </a:lnTo>
                    <a:lnTo>
                      <a:pt x="698705" y="899428"/>
                    </a:lnTo>
                    <a:lnTo>
                      <a:pt x="695299" y="901243"/>
                    </a:lnTo>
                    <a:lnTo>
                      <a:pt x="691440" y="903058"/>
                    </a:lnTo>
                    <a:lnTo>
                      <a:pt x="688035" y="904646"/>
                    </a:lnTo>
                    <a:lnTo>
                      <a:pt x="684176" y="906234"/>
                    </a:lnTo>
                    <a:lnTo>
                      <a:pt x="680317" y="907595"/>
                    </a:lnTo>
                    <a:lnTo>
                      <a:pt x="676231" y="908730"/>
                    </a:lnTo>
                    <a:lnTo>
                      <a:pt x="672372" y="909637"/>
                    </a:lnTo>
                    <a:lnTo>
                      <a:pt x="668286" y="910318"/>
                    </a:lnTo>
                    <a:lnTo>
                      <a:pt x="664199" y="910771"/>
                    </a:lnTo>
                    <a:lnTo>
                      <a:pt x="659886" y="911225"/>
                    </a:lnTo>
                    <a:lnTo>
                      <a:pt x="655573" y="911225"/>
                    </a:lnTo>
                    <a:lnTo>
                      <a:pt x="651260" y="911225"/>
                    </a:lnTo>
                    <a:lnTo>
                      <a:pt x="646947" y="910771"/>
                    </a:lnTo>
                    <a:lnTo>
                      <a:pt x="643088" y="910318"/>
                    </a:lnTo>
                    <a:lnTo>
                      <a:pt x="638775" y="909637"/>
                    </a:lnTo>
                    <a:lnTo>
                      <a:pt x="634915" y="908730"/>
                    </a:lnTo>
                    <a:lnTo>
                      <a:pt x="630829" y="907595"/>
                    </a:lnTo>
                    <a:lnTo>
                      <a:pt x="627197" y="906234"/>
                    </a:lnTo>
                    <a:lnTo>
                      <a:pt x="623338" y="904646"/>
                    </a:lnTo>
                    <a:lnTo>
                      <a:pt x="619706" y="903058"/>
                    </a:lnTo>
                    <a:lnTo>
                      <a:pt x="616074" y="901243"/>
                    </a:lnTo>
                    <a:lnTo>
                      <a:pt x="612669" y="899428"/>
                    </a:lnTo>
                    <a:lnTo>
                      <a:pt x="609037" y="896933"/>
                    </a:lnTo>
                    <a:lnTo>
                      <a:pt x="605858" y="894891"/>
                    </a:lnTo>
                    <a:lnTo>
                      <a:pt x="602680" y="892395"/>
                    </a:lnTo>
                    <a:lnTo>
                      <a:pt x="599729" y="889673"/>
                    </a:lnTo>
                    <a:lnTo>
                      <a:pt x="596778" y="886950"/>
                    </a:lnTo>
                    <a:lnTo>
                      <a:pt x="594054" y="884228"/>
                    </a:lnTo>
                    <a:lnTo>
                      <a:pt x="591557" y="881052"/>
                    </a:lnTo>
                    <a:lnTo>
                      <a:pt x="588833" y="877876"/>
                    </a:lnTo>
                    <a:lnTo>
                      <a:pt x="586790" y="874699"/>
                    </a:lnTo>
                    <a:lnTo>
                      <a:pt x="584520" y="871296"/>
                    </a:lnTo>
                    <a:lnTo>
                      <a:pt x="582704" y="867666"/>
                    </a:lnTo>
                    <a:lnTo>
                      <a:pt x="580661" y="864263"/>
                    </a:lnTo>
                    <a:lnTo>
                      <a:pt x="579072" y="860407"/>
                    </a:lnTo>
                    <a:lnTo>
                      <a:pt x="577710" y="856777"/>
                    </a:lnTo>
                    <a:lnTo>
                      <a:pt x="576348" y="852920"/>
                    </a:lnTo>
                    <a:lnTo>
                      <a:pt x="575212" y="849063"/>
                    </a:lnTo>
                    <a:lnTo>
                      <a:pt x="574077" y="844980"/>
                    </a:lnTo>
                    <a:lnTo>
                      <a:pt x="573396" y="840896"/>
                    </a:lnTo>
                    <a:lnTo>
                      <a:pt x="572942" y="836812"/>
                    </a:lnTo>
                    <a:lnTo>
                      <a:pt x="572488" y="832729"/>
                    </a:lnTo>
                    <a:lnTo>
                      <a:pt x="572488" y="828191"/>
                    </a:lnTo>
                    <a:lnTo>
                      <a:pt x="572488" y="825242"/>
                    </a:lnTo>
                    <a:lnTo>
                      <a:pt x="572715" y="822066"/>
                    </a:lnTo>
                    <a:lnTo>
                      <a:pt x="573623" y="815940"/>
                    </a:lnTo>
                    <a:lnTo>
                      <a:pt x="574986" y="810042"/>
                    </a:lnTo>
                    <a:lnTo>
                      <a:pt x="576575" y="804370"/>
                    </a:lnTo>
                    <a:lnTo>
                      <a:pt x="454445" y="733134"/>
                    </a:lnTo>
                    <a:lnTo>
                      <a:pt x="449904" y="736083"/>
                    </a:lnTo>
                    <a:lnTo>
                      <a:pt x="444910" y="738352"/>
                    </a:lnTo>
                    <a:lnTo>
                      <a:pt x="439689" y="740166"/>
                    </a:lnTo>
                    <a:lnTo>
                      <a:pt x="434468" y="741981"/>
                    </a:lnTo>
                    <a:lnTo>
                      <a:pt x="429020" y="743569"/>
                    </a:lnTo>
                    <a:lnTo>
                      <a:pt x="423571" y="744477"/>
                    </a:lnTo>
                    <a:lnTo>
                      <a:pt x="417669" y="745158"/>
                    </a:lnTo>
                    <a:lnTo>
                      <a:pt x="412221" y="745384"/>
                    </a:lnTo>
                    <a:lnTo>
                      <a:pt x="408589" y="745158"/>
                    </a:lnTo>
                    <a:lnTo>
                      <a:pt x="405411" y="744931"/>
                    </a:lnTo>
                    <a:lnTo>
                      <a:pt x="398828" y="744023"/>
                    </a:lnTo>
                    <a:lnTo>
                      <a:pt x="305755" y="898294"/>
                    </a:lnTo>
                    <a:lnTo>
                      <a:pt x="257175" y="869255"/>
                    </a:lnTo>
                    <a:lnTo>
                      <a:pt x="349113" y="716118"/>
                    </a:lnTo>
                    <a:lnTo>
                      <a:pt x="347070" y="713396"/>
                    </a:lnTo>
                    <a:lnTo>
                      <a:pt x="344573" y="710220"/>
                    </a:lnTo>
                    <a:lnTo>
                      <a:pt x="342757" y="707497"/>
                    </a:lnTo>
                    <a:lnTo>
                      <a:pt x="340714" y="704321"/>
                    </a:lnTo>
                    <a:lnTo>
                      <a:pt x="339125" y="701145"/>
                    </a:lnTo>
                    <a:lnTo>
                      <a:pt x="337536" y="697969"/>
                    </a:lnTo>
                    <a:lnTo>
                      <a:pt x="335720" y="694793"/>
                    </a:lnTo>
                    <a:lnTo>
                      <a:pt x="334358" y="691390"/>
                    </a:lnTo>
                    <a:lnTo>
                      <a:pt x="333223" y="687987"/>
                    </a:lnTo>
                    <a:lnTo>
                      <a:pt x="332087" y="684584"/>
                    </a:lnTo>
                    <a:lnTo>
                      <a:pt x="331179" y="680954"/>
                    </a:lnTo>
                    <a:lnTo>
                      <a:pt x="330498" y="677324"/>
                    </a:lnTo>
                    <a:lnTo>
                      <a:pt x="329590" y="673467"/>
                    </a:lnTo>
                    <a:lnTo>
                      <a:pt x="329136" y="670064"/>
                    </a:lnTo>
                    <a:lnTo>
                      <a:pt x="328909" y="665981"/>
                    </a:lnTo>
                    <a:lnTo>
                      <a:pt x="328909" y="662351"/>
                    </a:lnTo>
                    <a:lnTo>
                      <a:pt x="328909" y="658040"/>
                    </a:lnTo>
                    <a:lnTo>
                      <a:pt x="329363" y="653730"/>
                    </a:lnTo>
                    <a:lnTo>
                      <a:pt x="330044" y="649646"/>
                    </a:lnTo>
                    <a:lnTo>
                      <a:pt x="330725" y="645335"/>
                    </a:lnTo>
                    <a:lnTo>
                      <a:pt x="331633" y="641479"/>
                    </a:lnTo>
                    <a:lnTo>
                      <a:pt x="332768" y="637395"/>
                    </a:lnTo>
                    <a:lnTo>
                      <a:pt x="333904" y="633765"/>
                    </a:lnTo>
                    <a:lnTo>
                      <a:pt x="335493" y="629908"/>
                    </a:lnTo>
                    <a:lnTo>
                      <a:pt x="337082" y="626279"/>
                    </a:lnTo>
                    <a:lnTo>
                      <a:pt x="339125" y="622649"/>
                    </a:lnTo>
                    <a:lnTo>
                      <a:pt x="340941" y="619246"/>
                    </a:lnTo>
                    <a:lnTo>
                      <a:pt x="342984" y="615843"/>
                    </a:lnTo>
                    <a:lnTo>
                      <a:pt x="345481" y="612666"/>
                    </a:lnTo>
                    <a:lnTo>
                      <a:pt x="347978" y="609263"/>
                    </a:lnTo>
                    <a:lnTo>
                      <a:pt x="350475" y="606314"/>
                    </a:lnTo>
                    <a:lnTo>
                      <a:pt x="353426" y="603592"/>
                    </a:lnTo>
                    <a:lnTo>
                      <a:pt x="356150" y="600642"/>
                    </a:lnTo>
                    <a:lnTo>
                      <a:pt x="359101" y="598147"/>
                    </a:lnTo>
                    <a:lnTo>
                      <a:pt x="362279" y="595878"/>
                    </a:lnTo>
                    <a:lnTo>
                      <a:pt x="365458" y="593383"/>
                    </a:lnTo>
                    <a:lnTo>
                      <a:pt x="369090" y="591341"/>
                    </a:lnTo>
                    <a:lnTo>
                      <a:pt x="372495" y="589299"/>
                    </a:lnTo>
                    <a:lnTo>
                      <a:pt x="376127" y="587484"/>
                    </a:lnTo>
                    <a:lnTo>
                      <a:pt x="379759" y="585669"/>
                    </a:lnTo>
                    <a:lnTo>
                      <a:pt x="383618" y="584308"/>
                    </a:lnTo>
                    <a:lnTo>
                      <a:pt x="387250" y="582947"/>
                    </a:lnTo>
                    <a:lnTo>
                      <a:pt x="391336" y="581812"/>
                    </a:lnTo>
                    <a:lnTo>
                      <a:pt x="395196" y="580905"/>
                    </a:lnTo>
                    <a:lnTo>
                      <a:pt x="399509" y="580224"/>
                    </a:lnTo>
                    <a:lnTo>
                      <a:pt x="403368" y="579544"/>
                    </a:lnTo>
                    <a:lnTo>
                      <a:pt x="407681" y="579317"/>
                    </a:lnTo>
                    <a:lnTo>
                      <a:pt x="412221" y="579090"/>
                    </a:lnTo>
                    <a:lnTo>
                      <a:pt x="416307" y="579317"/>
                    </a:lnTo>
                    <a:lnTo>
                      <a:pt x="420620" y="579544"/>
                    </a:lnTo>
                    <a:lnTo>
                      <a:pt x="424707" y="580224"/>
                    </a:lnTo>
                    <a:lnTo>
                      <a:pt x="428793" y="580905"/>
                    </a:lnTo>
                    <a:lnTo>
                      <a:pt x="432652" y="581812"/>
                    </a:lnTo>
                    <a:lnTo>
                      <a:pt x="436738" y="582947"/>
                    </a:lnTo>
                    <a:lnTo>
                      <a:pt x="440597" y="584308"/>
                    </a:lnTo>
                    <a:lnTo>
                      <a:pt x="444456" y="585669"/>
                    </a:lnTo>
                    <a:lnTo>
                      <a:pt x="447861" y="587484"/>
                    </a:lnTo>
                    <a:lnTo>
                      <a:pt x="451720" y="589299"/>
                    </a:lnTo>
                    <a:lnTo>
                      <a:pt x="454899" y="591341"/>
                    </a:lnTo>
                    <a:lnTo>
                      <a:pt x="458531" y="593383"/>
                    </a:lnTo>
                    <a:lnTo>
                      <a:pt x="461709" y="595878"/>
                    </a:lnTo>
                    <a:lnTo>
                      <a:pt x="464887" y="598147"/>
                    </a:lnTo>
                    <a:lnTo>
                      <a:pt x="467838" y="600642"/>
                    </a:lnTo>
                    <a:lnTo>
                      <a:pt x="470562" y="603592"/>
                    </a:lnTo>
                    <a:lnTo>
                      <a:pt x="473513" y="606314"/>
                    </a:lnTo>
                    <a:lnTo>
                      <a:pt x="476010" y="609263"/>
                    </a:lnTo>
                    <a:lnTo>
                      <a:pt x="478734" y="612666"/>
                    </a:lnTo>
                    <a:lnTo>
                      <a:pt x="481004" y="615843"/>
                    </a:lnTo>
                    <a:lnTo>
                      <a:pt x="483047" y="619246"/>
                    </a:lnTo>
                    <a:lnTo>
                      <a:pt x="484864" y="622649"/>
                    </a:lnTo>
                    <a:lnTo>
                      <a:pt x="486907" y="626279"/>
                    </a:lnTo>
                    <a:lnTo>
                      <a:pt x="488496" y="629908"/>
                    </a:lnTo>
                    <a:lnTo>
                      <a:pt x="490085" y="633765"/>
                    </a:lnTo>
                    <a:lnTo>
                      <a:pt x="491220" y="637395"/>
                    </a:lnTo>
                    <a:lnTo>
                      <a:pt x="492355" y="641479"/>
                    </a:lnTo>
                    <a:lnTo>
                      <a:pt x="493490" y="645335"/>
                    </a:lnTo>
                    <a:lnTo>
                      <a:pt x="494171" y="649646"/>
                    </a:lnTo>
                    <a:lnTo>
                      <a:pt x="494625" y="653730"/>
                    </a:lnTo>
                    <a:lnTo>
                      <a:pt x="495079" y="658040"/>
                    </a:lnTo>
                    <a:lnTo>
                      <a:pt x="495079" y="662351"/>
                    </a:lnTo>
                    <a:lnTo>
                      <a:pt x="495079" y="665527"/>
                    </a:lnTo>
                    <a:lnTo>
                      <a:pt x="494852" y="669157"/>
                    </a:lnTo>
                    <a:lnTo>
                      <a:pt x="494398" y="672333"/>
                    </a:lnTo>
                    <a:lnTo>
                      <a:pt x="493944" y="675509"/>
                    </a:lnTo>
                    <a:lnTo>
                      <a:pt x="492355" y="682088"/>
                    </a:lnTo>
                    <a:lnTo>
                      <a:pt x="490539" y="688214"/>
                    </a:lnTo>
                    <a:lnTo>
                      <a:pt x="610853" y="758543"/>
                    </a:lnTo>
                    <a:lnTo>
                      <a:pt x="616528" y="755140"/>
                    </a:lnTo>
                    <a:lnTo>
                      <a:pt x="622430" y="752417"/>
                    </a:lnTo>
                    <a:lnTo>
                      <a:pt x="628559" y="749922"/>
                    </a:lnTo>
                    <a:lnTo>
                      <a:pt x="634915" y="748107"/>
                    </a:lnTo>
                    <a:lnTo>
                      <a:pt x="690305" y="547101"/>
                    </a:lnTo>
                    <a:lnTo>
                      <a:pt x="686673" y="544152"/>
                    </a:lnTo>
                    <a:lnTo>
                      <a:pt x="682814" y="540976"/>
                    </a:lnTo>
                    <a:lnTo>
                      <a:pt x="679409" y="537800"/>
                    </a:lnTo>
                    <a:lnTo>
                      <a:pt x="676004" y="533943"/>
                    </a:lnTo>
                    <a:lnTo>
                      <a:pt x="673053" y="530540"/>
                    </a:lnTo>
                    <a:lnTo>
                      <a:pt x="670102" y="526456"/>
                    </a:lnTo>
                    <a:lnTo>
                      <a:pt x="667605" y="522373"/>
                    </a:lnTo>
                    <a:lnTo>
                      <a:pt x="665107" y="518062"/>
                    </a:lnTo>
                    <a:lnTo>
                      <a:pt x="662837" y="513979"/>
                    </a:lnTo>
                    <a:lnTo>
                      <a:pt x="661021" y="509214"/>
                    </a:lnTo>
                    <a:lnTo>
                      <a:pt x="659432" y="504450"/>
                    </a:lnTo>
                    <a:lnTo>
                      <a:pt x="658070" y="499913"/>
                    </a:lnTo>
                    <a:lnTo>
                      <a:pt x="657162" y="494922"/>
                    </a:lnTo>
                    <a:lnTo>
                      <a:pt x="656027" y="489931"/>
                    </a:lnTo>
                    <a:lnTo>
                      <a:pt x="655573" y="484940"/>
                    </a:lnTo>
                    <a:lnTo>
                      <a:pt x="655573" y="479722"/>
                    </a:lnTo>
                    <a:lnTo>
                      <a:pt x="655573" y="475411"/>
                    </a:lnTo>
                    <a:lnTo>
                      <a:pt x="655800" y="471327"/>
                    </a:lnTo>
                    <a:lnTo>
                      <a:pt x="656708" y="467017"/>
                    </a:lnTo>
                    <a:lnTo>
                      <a:pt x="657389" y="463160"/>
                    </a:lnTo>
                    <a:lnTo>
                      <a:pt x="658297" y="458850"/>
                    </a:lnTo>
                    <a:lnTo>
                      <a:pt x="659432" y="455220"/>
                    </a:lnTo>
                    <a:lnTo>
                      <a:pt x="660567" y="451136"/>
                    </a:lnTo>
                    <a:lnTo>
                      <a:pt x="661929" y="447506"/>
                    </a:lnTo>
                    <a:lnTo>
                      <a:pt x="663745" y="443649"/>
                    </a:lnTo>
                    <a:lnTo>
                      <a:pt x="665561" y="440246"/>
                    </a:lnTo>
                    <a:lnTo>
                      <a:pt x="667605" y="436617"/>
                    </a:lnTo>
                    <a:lnTo>
                      <a:pt x="669648" y="433440"/>
                    </a:lnTo>
                    <a:lnTo>
                      <a:pt x="672145" y="430037"/>
                    </a:lnTo>
                    <a:lnTo>
                      <a:pt x="674642" y="426861"/>
                    </a:lnTo>
                    <a:lnTo>
                      <a:pt x="677139" y="423912"/>
                    </a:lnTo>
                    <a:lnTo>
                      <a:pt x="679863" y="420963"/>
                    </a:lnTo>
                    <a:lnTo>
                      <a:pt x="682814" y="418240"/>
                    </a:lnTo>
                    <a:lnTo>
                      <a:pt x="685765" y="415518"/>
                    </a:lnTo>
                    <a:lnTo>
                      <a:pt x="688943" y="413249"/>
                    </a:lnTo>
                    <a:lnTo>
                      <a:pt x="692121" y="410980"/>
                    </a:lnTo>
                    <a:lnTo>
                      <a:pt x="695526" y="408712"/>
                    </a:lnTo>
                    <a:lnTo>
                      <a:pt x="698932" y="406670"/>
                    </a:lnTo>
                    <a:lnTo>
                      <a:pt x="702791" y="404855"/>
                    </a:lnTo>
                    <a:lnTo>
                      <a:pt x="706196" y="403267"/>
                    </a:lnTo>
                    <a:lnTo>
                      <a:pt x="710055" y="401679"/>
                    </a:lnTo>
                    <a:lnTo>
                      <a:pt x="713914" y="400318"/>
                    </a:lnTo>
                    <a:lnTo>
                      <a:pt x="718000" y="399410"/>
                    </a:lnTo>
                    <a:lnTo>
                      <a:pt x="721859" y="398503"/>
                    </a:lnTo>
                    <a:lnTo>
                      <a:pt x="725945" y="397595"/>
                    </a:lnTo>
                    <a:lnTo>
                      <a:pt x="730032" y="397141"/>
                    </a:lnTo>
                    <a:lnTo>
                      <a:pt x="734345" y="396915"/>
                    </a:lnTo>
                    <a:lnTo>
                      <a:pt x="738658" y="396688"/>
                    </a:lnTo>
                    <a:lnTo>
                      <a:pt x="744106" y="396915"/>
                    </a:lnTo>
                    <a:lnTo>
                      <a:pt x="749554" y="397595"/>
                    </a:lnTo>
                    <a:lnTo>
                      <a:pt x="754775" y="398276"/>
                    </a:lnTo>
                    <a:lnTo>
                      <a:pt x="759770" y="399637"/>
                    </a:lnTo>
                    <a:lnTo>
                      <a:pt x="764764" y="400998"/>
                    </a:lnTo>
                    <a:lnTo>
                      <a:pt x="769758" y="403040"/>
                    </a:lnTo>
                    <a:lnTo>
                      <a:pt x="774298" y="405082"/>
                    </a:lnTo>
                    <a:lnTo>
                      <a:pt x="778838" y="407577"/>
                    </a:lnTo>
                    <a:lnTo>
                      <a:pt x="916859" y="288925"/>
                    </a:lnTo>
                    <a:close/>
                    <a:moveTo>
                      <a:pt x="607752" y="120128"/>
                    </a:moveTo>
                    <a:lnTo>
                      <a:pt x="595738" y="120581"/>
                    </a:lnTo>
                    <a:lnTo>
                      <a:pt x="583950" y="121488"/>
                    </a:lnTo>
                    <a:lnTo>
                      <a:pt x="571936" y="122621"/>
                    </a:lnTo>
                    <a:lnTo>
                      <a:pt x="559921" y="123755"/>
                    </a:lnTo>
                    <a:lnTo>
                      <a:pt x="548133" y="125341"/>
                    </a:lnTo>
                    <a:lnTo>
                      <a:pt x="536119" y="127154"/>
                    </a:lnTo>
                    <a:lnTo>
                      <a:pt x="524331" y="129421"/>
                    </a:lnTo>
                    <a:lnTo>
                      <a:pt x="512543" y="131688"/>
                    </a:lnTo>
                    <a:lnTo>
                      <a:pt x="500755" y="134407"/>
                    </a:lnTo>
                    <a:lnTo>
                      <a:pt x="489194" y="137581"/>
                    </a:lnTo>
                    <a:lnTo>
                      <a:pt x="477406" y="140754"/>
                    </a:lnTo>
                    <a:lnTo>
                      <a:pt x="466072" y="144380"/>
                    </a:lnTo>
                    <a:lnTo>
                      <a:pt x="454511" y="148234"/>
                    </a:lnTo>
                    <a:lnTo>
                      <a:pt x="443176" y="152313"/>
                    </a:lnTo>
                    <a:lnTo>
                      <a:pt x="431615" y="156620"/>
                    </a:lnTo>
                    <a:lnTo>
                      <a:pt x="420508" y="161380"/>
                    </a:lnTo>
                    <a:lnTo>
                      <a:pt x="409400" y="166593"/>
                    </a:lnTo>
                    <a:lnTo>
                      <a:pt x="398519" y="171579"/>
                    </a:lnTo>
                    <a:lnTo>
                      <a:pt x="387411" y="177246"/>
                    </a:lnTo>
                    <a:lnTo>
                      <a:pt x="376530" y="183139"/>
                    </a:lnTo>
                    <a:lnTo>
                      <a:pt x="365876" y="189485"/>
                    </a:lnTo>
                    <a:lnTo>
                      <a:pt x="355221" y="195831"/>
                    </a:lnTo>
                    <a:lnTo>
                      <a:pt x="344794" y="202631"/>
                    </a:lnTo>
                    <a:lnTo>
                      <a:pt x="334593" y="209431"/>
                    </a:lnTo>
                    <a:lnTo>
                      <a:pt x="324392" y="216684"/>
                    </a:lnTo>
                    <a:lnTo>
                      <a:pt x="314191" y="224163"/>
                    </a:lnTo>
                    <a:lnTo>
                      <a:pt x="304443" y="232323"/>
                    </a:lnTo>
                    <a:lnTo>
                      <a:pt x="294695" y="240483"/>
                    </a:lnTo>
                    <a:lnTo>
                      <a:pt x="284948" y="248869"/>
                    </a:lnTo>
                    <a:lnTo>
                      <a:pt x="275654" y="257482"/>
                    </a:lnTo>
                    <a:lnTo>
                      <a:pt x="266359" y="266548"/>
                    </a:lnTo>
                    <a:lnTo>
                      <a:pt x="257518" y="275614"/>
                    </a:lnTo>
                    <a:lnTo>
                      <a:pt x="248678" y="285134"/>
                    </a:lnTo>
                    <a:lnTo>
                      <a:pt x="240290" y="294654"/>
                    </a:lnTo>
                    <a:lnTo>
                      <a:pt x="232129" y="304400"/>
                    </a:lnTo>
                    <a:lnTo>
                      <a:pt x="224195" y="314373"/>
                    </a:lnTo>
                    <a:lnTo>
                      <a:pt x="216714" y="324346"/>
                    </a:lnTo>
                    <a:lnTo>
                      <a:pt x="209460" y="334545"/>
                    </a:lnTo>
                    <a:lnTo>
                      <a:pt x="202433" y="344971"/>
                    </a:lnTo>
                    <a:lnTo>
                      <a:pt x="195632" y="355397"/>
                    </a:lnTo>
                    <a:lnTo>
                      <a:pt x="189058" y="366050"/>
                    </a:lnTo>
                    <a:lnTo>
                      <a:pt x="183164" y="376703"/>
                    </a:lnTo>
                    <a:lnTo>
                      <a:pt x="177271" y="387583"/>
                    </a:lnTo>
                    <a:lnTo>
                      <a:pt x="171603" y="398462"/>
                    </a:lnTo>
                    <a:lnTo>
                      <a:pt x="166390" y="409342"/>
                    </a:lnTo>
                    <a:lnTo>
                      <a:pt x="161402" y="420448"/>
                    </a:lnTo>
                    <a:lnTo>
                      <a:pt x="156642" y="431554"/>
                    </a:lnTo>
                    <a:lnTo>
                      <a:pt x="152108" y="443114"/>
                    </a:lnTo>
                    <a:lnTo>
                      <a:pt x="148028" y="454673"/>
                    </a:lnTo>
                    <a:lnTo>
                      <a:pt x="144174" y="466006"/>
                    </a:lnTo>
                    <a:lnTo>
                      <a:pt x="140774" y="477565"/>
                    </a:lnTo>
                    <a:lnTo>
                      <a:pt x="137373" y="489125"/>
                    </a:lnTo>
                    <a:lnTo>
                      <a:pt x="134426" y="500911"/>
                    </a:lnTo>
                    <a:lnTo>
                      <a:pt x="131706" y="512470"/>
                    </a:lnTo>
                    <a:lnTo>
                      <a:pt x="129213" y="524256"/>
                    </a:lnTo>
                    <a:lnTo>
                      <a:pt x="127172" y="536269"/>
                    </a:lnTo>
                    <a:lnTo>
                      <a:pt x="125359" y="548055"/>
                    </a:lnTo>
                    <a:lnTo>
                      <a:pt x="123772" y="560068"/>
                    </a:lnTo>
                    <a:lnTo>
                      <a:pt x="122185" y="571854"/>
                    </a:lnTo>
                    <a:lnTo>
                      <a:pt x="121278" y="583867"/>
                    </a:lnTo>
                    <a:lnTo>
                      <a:pt x="120598" y="595880"/>
                    </a:lnTo>
                    <a:lnTo>
                      <a:pt x="120145" y="607666"/>
                    </a:lnTo>
                    <a:lnTo>
                      <a:pt x="120145" y="619905"/>
                    </a:lnTo>
                    <a:lnTo>
                      <a:pt x="120145" y="631918"/>
                    </a:lnTo>
                    <a:lnTo>
                      <a:pt x="120598" y="643704"/>
                    </a:lnTo>
                    <a:lnTo>
                      <a:pt x="121278" y="655717"/>
                    </a:lnTo>
                    <a:lnTo>
                      <a:pt x="122185" y="667503"/>
                    </a:lnTo>
                    <a:lnTo>
                      <a:pt x="123772" y="679516"/>
                    </a:lnTo>
                    <a:lnTo>
                      <a:pt x="125359" y="691529"/>
                    </a:lnTo>
                    <a:lnTo>
                      <a:pt x="127172" y="703315"/>
                    </a:lnTo>
                    <a:lnTo>
                      <a:pt x="129213" y="715328"/>
                    </a:lnTo>
                    <a:lnTo>
                      <a:pt x="131706" y="726887"/>
                    </a:lnTo>
                    <a:lnTo>
                      <a:pt x="134426" y="738673"/>
                    </a:lnTo>
                    <a:lnTo>
                      <a:pt x="137373" y="750460"/>
                    </a:lnTo>
                    <a:lnTo>
                      <a:pt x="140774" y="762019"/>
                    </a:lnTo>
                    <a:lnTo>
                      <a:pt x="144174" y="773579"/>
                    </a:lnTo>
                    <a:lnTo>
                      <a:pt x="148028" y="784911"/>
                    </a:lnTo>
                    <a:lnTo>
                      <a:pt x="152108" y="796471"/>
                    </a:lnTo>
                    <a:lnTo>
                      <a:pt x="156642" y="807804"/>
                    </a:lnTo>
                    <a:lnTo>
                      <a:pt x="161402" y="819136"/>
                    </a:lnTo>
                    <a:lnTo>
                      <a:pt x="166390" y="830016"/>
                    </a:lnTo>
                    <a:lnTo>
                      <a:pt x="171603" y="841122"/>
                    </a:lnTo>
                    <a:lnTo>
                      <a:pt x="177271" y="852002"/>
                    </a:lnTo>
                    <a:lnTo>
                      <a:pt x="183164" y="862881"/>
                    </a:lnTo>
                    <a:lnTo>
                      <a:pt x="189058" y="873534"/>
                    </a:lnTo>
                    <a:lnTo>
                      <a:pt x="195632" y="884187"/>
                    </a:lnTo>
                    <a:lnTo>
                      <a:pt x="202433" y="894613"/>
                    </a:lnTo>
                    <a:lnTo>
                      <a:pt x="209460" y="904813"/>
                    </a:lnTo>
                    <a:lnTo>
                      <a:pt x="216714" y="915239"/>
                    </a:lnTo>
                    <a:lnTo>
                      <a:pt x="224195" y="925212"/>
                    </a:lnTo>
                    <a:lnTo>
                      <a:pt x="232129" y="934958"/>
                    </a:lnTo>
                    <a:lnTo>
                      <a:pt x="240290" y="944931"/>
                    </a:lnTo>
                    <a:lnTo>
                      <a:pt x="248678" y="954450"/>
                    </a:lnTo>
                    <a:lnTo>
                      <a:pt x="257518" y="963743"/>
                    </a:lnTo>
                    <a:lnTo>
                      <a:pt x="266359" y="973036"/>
                    </a:lnTo>
                    <a:lnTo>
                      <a:pt x="275654" y="982102"/>
                    </a:lnTo>
                    <a:lnTo>
                      <a:pt x="284948" y="990715"/>
                    </a:lnTo>
                    <a:lnTo>
                      <a:pt x="294695" y="999102"/>
                    </a:lnTo>
                    <a:lnTo>
                      <a:pt x="304443" y="1007261"/>
                    </a:lnTo>
                    <a:lnTo>
                      <a:pt x="314191" y="1015194"/>
                    </a:lnTo>
                    <a:lnTo>
                      <a:pt x="324392" y="1022674"/>
                    </a:lnTo>
                    <a:lnTo>
                      <a:pt x="334593" y="1029927"/>
                    </a:lnTo>
                    <a:lnTo>
                      <a:pt x="344794" y="1036953"/>
                    </a:lnTo>
                    <a:lnTo>
                      <a:pt x="355221" y="1043753"/>
                    </a:lnTo>
                    <a:lnTo>
                      <a:pt x="365876" y="1050099"/>
                    </a:lnTo>
                    <a:lnTo>
                      <a:pt x="376530" y="1056446"/>
                    </a:lnTo>
                    <a:lnTo>
                      <a:pt x="387411" y="1062339"/>
                    </a:lnTo>
                    <a:lnTo>
                      <a:pt x="398292" y="1067779"/>
                    </a:lnTo>
                    <a:lnTo>
                      <a:pt x="409400" y="1072992"/>
                    </a:lnTo>
                    <a:lnTo>
                      <a:pt x="420508" y="1078205"/>
                    </a:lnTo>
                    <a:lnTo>
                      <a:pt x="431615" y="1082738"/>
                    </a:lnTo>
                    <a:lnTo>
                      <a:pt x="443176" y="1087271"/>
                    </a:lnTo>
                    <a:lnTo>
                      <a:pt x="454511" y="1091351"/>
                    </a:lnTo>
                    <a:lnTo>
                      <a:pt x="466072" y="1095204"/>
                    </a:lnTo>
                    <a:lnTo>
                      <a:pt x="477406" y="1098830"/>
                    </a:lnTo>
                    <a:lnTo>
                      <a:pt x="489194" y="1102004"/>
                    </a:lnTo>
                    <a:lnTo>
                      <a:pt x="500755" y="1104950"/>
                    </a:lnTo>
                    <a:lnTo>
                      <a:pt x="512543" y="1107897"/>
                    </a:lnTo>
                    <a:lnTo>
                      <a:pt x="524331" y="1110163"/>
                    </a:lnTo>
                    <a:lnTo>
                      <a:pt x="536119" y="1112203"/>
                    </a:lnTo>
                    <a:lnTo>
                      <a:pt x="548133" y="1114243"/>
                    </a:lnTo>
                    <a:lnTo>
                      <a:pt x="559921" y="1115830"/>
                    </a:lnTo>
                    <a:lnTo>
                      <a:pt x="571936" y="1116963"/>
                    </a:lnTo>
                    <a:lnTo>
                      <a:pt x="583950" y="1118096"/>
                    </a:lnTo>
                    <a:lnTo>
                      <a:pt x="595738" y="1118776"/>
                    </a:lnTo>
                    <a:lnTo>
                      <a:pt x="607752" y="1119230"/>
                    </a:lnTo>
                    <a:lnTo>
                      <a:pt x="619540" y="1119230"/>
                    </a:lnTo>
                    <a:lnTo>
                      <a:pt x="631782" y="1119230"/>
                    </a:lnTo>
                    <a:lnTo>
                      <a:pt x="643796" y="1118776"/>
                    </a:lnTo>
                    <a:lnTo>
                      <a:pt x="655584" y="1118096"/>
                    </a:lnTo>
                    <a:lnTo>
                      <a:pt x="667598" y="1116963"/>
                    </a:lnTo>
                    <a:lnTo>
                      <a:pt x="679613" y="1115830"/>
                    </a:lnTo>
                    <a:lnTo>
                      <a:pt x="691401" y="1114243"/>
                    </a:lnTo>
                    <a:lnTo>
                      <a:pt x="703415" y="1112203"/>
                    </a:lnTo>
                    <a:lnTo>
                      <a:pt x="715203" y="1110163"/>
                    </a:lnTo>
                    <a:lnTo>
                      <a:pt x="726991" y="1107897"/>
                    </a:lnTo>
                    <a:lnTo>
                      <a:pt x="738779" y="1104950"/>
                    </a:lnTo>
                    <a:lnTo>
                      <a:pt x="750340" y="1102004"/>
                    </a:lnTo>
                    <a:lnTo>
                      <a:pt x="762128" y="1098830"/>
                    </a:lnTo>
                    <a:lnTo>
                      <a:pt x="773462" y="1095204"/>
                    </a:lnTo>
                    <a:lnTo>
                      <a:pt x="785023" y="1091351"/>
                    </a:lnTo>
                    <a:lnTo>
                      <a:pt x="796358" y="1087271"/>
                    </a:lnTo>
                    <a:lnTo>
                      <a:pt x="807692" y="1082738"/>
                    </a:lnTo>
                    <a:lnTo>
                      <a:pt x="819026" y="1078205"/>
                    </a:lnTo>
                    <a:lnTo>
                      <a:pt x="830134" y="1072992"/>
                    </a:lnTo>
                    <a:lnTo>
                      <a:pt x="841015" y="1067779"/>
                    </a:lnTo>
                    <a:lnTo>
                      <a:pt x="852123" y="1062339"/>
                    </a:lnTo>
                    <a:lnTo>
                      <a:pt x="862777" y="1056446"/>
                    </a:lnTo>
                    <a:lnTo>
                      <a:pt x="873658" y="1050099"/>
                    </a:lnTo>
                    <a:lnTo>
                      <a:pt x="884086" y="1043753"/>
                    </a:lnTo>
                    <a:lnTo>
                      <a:pt x="894740" y="1036953"/>
                    </a:lnTo>
                    <a:lnTo>
                      <a:pt x="904941" y="1029927"/>
                    </a:lnTo>
                    <a:lnTo>
                      <a:pt x="915142" y="1022674"/>
                    </a:lnTo>
                    <a:lnTo>
                      <a:pt x="925343" y="1015194"/>
                    </a:lnTo>
                    <a:lnTo>
                      <a:pt x="935091" y="1007261"/>
                    </a:lnTo>
                    <a:lnTo>
                      <a:pt x="944839" y="999102"/>
                    </a:lnTo>
                    <a:lnTo>
                      <a:pt x="954586" y="990715"/>
                    </a:lnTo>
                    <a:lnTo>
                      <a:pt x="963880" y="982102"/>
                    </a:lnTo>
                    <a:lnTo>
                      <a:pt x="972948" y="973036"/>
                    </a:lnTo>
                    <a:lnTo>
                      <a:pt x="982016" y="963743"/>
                    </a:lnTo>
                    <a:lnTo>
                      <a:pt x="990856" y="954450"/>
                    </a:lnTo>
                    <a:lnTo>
                      <a:pt x="999244" y="944931"/>
                    </a:lnTo>
                    <a:lnTo>
                      <a:pt x="1007405" y="934958"/>
                    </a:lnTo>
                    <a:lnTo>
                      <a:pt x="1015339" y="925212"/>
                    </a:lnTo>
                    <a:lnTo>
                      <a:pt x="1022820" y="915239"/>
                    </a:lnTo>
                    <a:lnTo>
                      <a:pt x="1030074" y="904813"/>
                    </a:lnTo>
                    <a:lnTo>
                      <a:pt x="1037101" y="894613"/>
                    </a:lnTo>
                    <a:lnTo>
                      <a:pt x="1043902" y="884187"/>
                    </a:lnTo>
                    <a:lnTo>
                      <a:pt x="1050249" y="873534"/>
                    </a:lnTo>
                    <a:lnTo>
                      <a:pt x="1056370" y="862881"/>
                    </a:lnTo>
                    <a:lnTo>
                      <a:pt x="1062263" y="852002"/>
                    </a:lnTo>
                    <a:lnTo>
                      <a:pt x="1067931" y="841122"/>
                    </a:lnTo>
                    <a:lnTo>
                      <a:pt x="1073144" y="830016"/>
                    </a:lnTo>
                    <a:lnTo>
                      <a:pt x="1078132" y="819136"/>
                    </a:lnTo>
                    <a:lnTo>
                      <a:pt x="1082892" y="807804"/>
                    </a:lnTo>
                    <a:lnTo>
                      <a:pt x="1087426" y="796471"/>
                    </a:lnTo>
                    <a:lnTo>
                      <a:pt x="1091280" y="784911"/>
                    </a:lnTo>
                    <a:lnTo>
                      <a:pt x="1095360" y="773579"/>
                    </a:lnTo>
                    <a:lnTo>
                      <a:pt x="1098760" y="762019"/>
                    </a:lnTo>
                    <a:lnTo>
                      <a:pt x="1102161" y="750460"/>
                    </a:lnTo>
                    <a:lnTo>
                      <a:pt x="1105108" y="738673"/>
                    </a:lnTo>
                    <a:lnTo>
                      <a:pt x="1107828" y="726887"/>
                    </a:lnTo>
                    <a:lnTo>
                      <a:pt x="1110321" y="715328"/>
                    </a:lnTo>
                    <a:lnTo>
                      <a:pt x="1112362" y="703315"/>
                    </a:lnTo>
                    <a:lnTo>
                      <a:pt x="1114175" y="691529"/>
                    </a:lnTo>
                    <a:lnTo>
                      <a:pt x="1115762" y="679516"/>
                    </a:lnTo>
                    <a:lnTo>
                      <a:pt x="1117122" y="667503"/>
                    </a:lnTo>
                    <a:lnTo>
                      <a:pt x="1118256" y="655717"/>
                    </a:lnTo>
                    <a:lnTo>
                      <a:pt x="1118936" y="643704"/>
                    </a:lnTo>
                    <a:lnTo>
                      <a:pt x="1119389" y="631918"/>
                    </a:lnTo>
                    <a:lnTo>
                      <a:pt x="1119389" y="619905"/>
                    </a:lnTo>
                    <a:lnTo>
                      <a:pt x="1119389" y="607666"/>
                    </a:lnTo>
                    <a:lnTo>
                      <a:pt x="1118936" y="595880"/>
                    </a:lnTo>
                    <a:lnTo>
                      <a:pt x="1118256" y="583867"/>
                    </a:lnTo>
                    <a:lnTo>
                      <a:pt x="1117122" y="571854"/>
                    </a:lnTo>
                    <a:lnTo>
                      <a:pt x="1115762" y="560068"/>
                    </a:lnTo>
                    <a:lnTo>
                      <a:pt x="1114175" y="548055"/>
                    </a:lnTo>
                    <a:lnTo>
                      <a:pt x="1112362" y="536269"/>
                    </a:lnTo>
                    <a:lnTo>
                      <a:pt x="1110321" y="524256"/>
                    </a:lnTo>
                    <a:lnTo>
                      <a:pt x="1107828" y="512470"/>
                    </a:lnTo>
                    <a:lnTo>
                      <a:pt x="1105108" y="500911"/>
                    </a:lnTo>
                    <a:lnTo>
                      <a:pt x="1102161" y="489125"/>
                    </a:lnTo>
                    <a:lnTo>
                      <a:pt x="1098760" y="477565"/>
                    </a:lnTo>
                    <a:lnTo>
                      <a:pt x="1095360" y="466006"/>
                    </a:lnTo>
                    <a:lnTo>
                      <a:pt x="1091280" y="454673"/>
                    </a:lnTo>
                    <a:lnTo>
                      <a:pt x="1087426" y="443114"/>
                    </a:lnTo>
                    <a:lnTo>
                      <a:pt x="1082892" y="431554"/>
                    </a:lnTo>
                    <a:lnTo>
                      <a:pt x="1078132" y="420448"/>
                    </a:lnTo>
                    <a:lnTo>
                      <a:pt x="1073144" y="409342"/>
                    </a:lnTo>
                    <a:lnTo>
                      <a:pt x="1067931" y="398462"/>
                    </a:lnTo>
                    <a:lnTo>
                      <a:pt x="1062263" y="387583"/>
                    </a:lnTo>
                    <a:lnTo>
                      <a:pt x="1056370" y="376703"/>
                    </a:lnTo>
                    <a:lnTo>
                      <a:pt x="1050249" y="366050"/>
                    </a:lnTo>
                    <a:lnTo>
                      <a:pt x="1043902" y="355397"/>
                    </a:lnTo>
                    <a:lnTo>
                      <a:pt x="1037101" y="344971"/>
                    </a:lnTo>
                    <a:lnTo>
                      <a:pt x="1030074" y="334545"/>
                    </a:lnTo>
                    <a:lnTo>
                      <a:pt x="1022820" y="324346"/>
                    </a:lnTo>
                    <a:lnTo>
                      <a:pt x="1015339" y="314373"/>
                    </a:lnTo>
                    <a:lnTo>
                      <a:pt x="1007405" y="304400"/>
                    </a:lnTo>
                    <a:lnTo>
                      <a:pt x="999244" y="294654"/>
                    </a:lnTo>
                    <a:lnTo>
                      <a:pt x="990856" y="285134"/>
                    </a:lnTo>
                    <a:lnTo>
                      <a:pt x="982016" y="275614"/>
                    </a:lnTo>
                    <a:lnTo>
                      <a:pt x="972948" y="266548"/>
                    </a:lnTo>
                    <a:lnTo>
                      <a:pt x="963880" y="257482"/>
                    </a:lnTo>
                    <a:lnTo>
                      <a:pt x="954586" y="248869"/>
                    </a:lnTo>
                    <a:lnTo>
                      <a:pt x="944839" y="240483"/>
                    </a:lnTo>
                    <a:lnTo>
                      <a:pt x="935091" y="232323"/>
                    </a:lnTo>
                    <a:lnTo>
                      <a:pt x="925343" y="224163"/>
                    </a:lnTo>
                    <a:lnTo>
                      <a:pt x="915142" y="216684"/>
                    </a:lnTo>
                    <a:lnTo>
                      <a:pt x="904941" y="209431"/>
                    </a:lnTo>
                    <a:lnTo>
                      <a:pt x="894740" y="202631"/>
                    </a:lnTo>
                    <a:lnTo>
                      <a:pt x="884086" y="195831"/>
                    </a:lnTo>
                    <a:lnTo>
                      <a:pt x="873658" y="189485"/>
                    </a:lnTo>
                    <a:lnTo>
                      <a:pt x="862777" y="183139"/>
                    </a:lnTo>
                    <a:lnTo>
                      <a:pt x="852123" y="177246"/>
                    </a:lnTo>
                    <a:lnTo>
                      <a:pt x="841015" y="171579"/>
                    </a:lnTo>
                    <a:lnTo>
                      <a:pt x="830134" y="166593"/>
                    </a:lnTo>
                    <a:lnTo>
                      <a:pt x="819026" y="161380"/>
                    </a:lnTo>
                    <a:lnTo>
                      <a:pt x="807692" y="156620"/>
                    </a:lnTo>
                    <a:lnTo>
                      <a:pt x="796358" y="152313"/>
                    </a:lnTo>
                    <a:lnTo>
                      <a:pt x="785023" y="148234"/>
                    </a:lnTo>
                    <a:lnTo>
                      <a:pt x="773462" y="144380"/>
                    </a:lnTo>
                    <a:lnTo>
                      <a:pt x="762128" y="140754"/>
                    </a:lnTo>
                    <a:lnTo>
                      <a:pt x="750340" y="137581"/>
                    </a:lnTo>
                    <a:lnTo>
                      <a:pt x="738779" y="134407"/>
                    </a:lnTo>
                    <a:lnTo>
                      <a:pt x="726991" y="131688"/>
                    </a:lnTo>
                    <a:lnTo>
                      <a:pt x="715203" y="129421"/>
                    </a:lnTo>
                    <a:lnTo>
                      <a:pt x="703415" y="127154"/>
                    </a:lnTo>
                    <a:lnTo>
                      <a:pt x="691401" y="125341"/>
                    </a:lnTo>
                    <a:lnTo>
                      <a:pt x="679613" y="123755"/>
                    </a:lnTo>
                    <a:lnTo>
                      <a:pt x="667598" y="122621"/>
                    </a:lnTo>
                    <a:lnTo>
                      <a:pt x="655584" y="121488"/>
                    </a:lnTo>
                    <a:lnTo>
                      <a:pt x="643796" y="120581"/>
                    </a:lnTo>
                    <a:lnTo>
                      <a:pt x="631782" y="120128"/>
                    </a:lnTo>
                    <a:lnTo>
                      <a:pt x="619540" y="120128"/>
                    </a:lnTo>
                    <a:lnTo>
                      <a:pt x="607752" y="120128"/>
                    </a:lnTo>
                    <a:close/>
                    <a:moveTo>
                      <a:pt x="619540" y="0"/>
                    </a:moveTo>
                    <a:lnTo>
                      <a:pt x="634502" y="227"/>
                    </a:lnTo>
                    <a:lnTo>
                      <a:pt x="649690" y="907"/>
                    </a:lnTo>
                    <a:lnTo>
                      <a:pt x="664198" y="1587"/>
                    </a:lnTo>
                    <a:lnTo>
                      <a:pt x="678933" y="3173"/>
                    </a:lnTo>
                    <a:lnTo>
                      <a:pt x="694121" y="4533"/>
                    </a:lnTo>
                    <a:lnTo>
                      <a:pt x="708629" y="6573"/>
                    </a:lnTo>
                    <a:lnTo>
                      <a:pt x="723364" y="8840"/>
                    </a:lnTo>
                    <a:lnTo>
                      <a:pt x="738098" y="11560"/>
                    </a:lnTo>
                    <a:lnTo>
                      <a:pt x="752607" y="14506"/>
                    </a:lnTo>
                    <a:lnTo>
                      <a:pt x="767115" y="17906"/>
                    </a:lnTo>
                    <a:lnTo>
                      <a:pt x="781623" y="21533"/>
                    </a:lnTo>
                    <a:lnTo>
                      <a:pt x="796131" y="25839"/>
                    </a:lnTo>
                    <a:lnTo>
                      <a:pt x="810412" y="30146"/>
                    </a:lnTo>
                    <a:lnTo>
                      <a:pt x="824694" y="34905"/>
                    </a:lnTo>
                    <a:lnTo>
                      <a:pt x="838975" y="40118"/>
                    </a:lnTo>
                    <a:lnTo>
                      <a:pt x="853030" y="45558"/>
                    </a:lnTo>
                    <a:lnTo>
                      <a:pt x="866858" y="51451"/>
                    </a:lnTo>
                    <a:lnTo>
                      <a:pt x="880686" y="57571"/>
                    </a:lnTo>
                    <a:lnTo>
                      <a:pt x="894514" y="64144"/>
                    </a:lnTo>
                    <a:lnTo>
                      <a:pt x="907888" y="71170"/>
                    </a:lnTo>
                    <a:lnTo>
                      <a:pt x="921263" y="78423"/>
                    </a:lnTo>
                    <a:lnTo>
                      <a:pt x="934638" y="85903"/>
                    </a:lnTo>
                    <a:lnTo>
                      <a:pt x="947786" y="93836"/>
                    </a:lnTo>
                    <a:lnTo>
                      <a:pt x="960934" y="102222"/>
                    </a:lnTo>
                    <a:lnTo>
                      <a:pt x="973401" y="110835"/>
                    </a:lnTo>
                    <a:lnTo>
                      <a:pt x="986096" y="119901"/>
                    </a:lnTo>
                    <a:lnTo>
                      <a:pt x="998791" y="129421"/>
                    </a:lnTo>
                    <a:lnTo>
                      <a:pt x="1010805" y="139167"/>
                    </a:lnTo>
                    <a:lnTo>
                      <a:pt x="1023046" y="149140"/>
                    </a:lnTo>
                    <a:lnTo>
                      <a:pt x="1034607" y="159793"/>
                    </a:lnTo>
                    <a:lnTo>
                      <a:pt x="1046395" y="170446"/>
                    </a:lnTo>
                    <a:lnTo>
                      <a:pt x="1057956" y="181779"/>
                    </a:lnTo>
                    <a:lnTo>
                      <a:pt x="1067251" y="191072"/>
                    </a:lnTo>
                    <a:lnTo>
                      <a:pt x="1076318" y="200591"/>
                    </a:lnTo>
                    <a:lnTo>
                      <a:pt x="1084932" y="210564"/>
                    </a:lnTo>
                    <a:lnTo>
                      <a:pt x="1093546" y="220310"/>
                    </a:lnTo>
                    <a:lnTo>
                      <a:pt x="1101934" y="230283"/>
                    </a:lnTo>
                    <a:lnTo>
                      <a:pt x="1110095" y="240709"/>
                    </a:lnTo>
                    <a:lnTo>
                      <a:pt x="1117802" y="250909"/>
                    </a:lnTo>
                    <a:lnTo>
                      <a:pt x="1125510" y="261108"/>
                    </a:lnTo>
                    <a:lnTo>
                      <a:pt x="1132764" y="271988"/>
                    </a:lnTo>
                    <a:lnTo>
                      <a:pt x="1139791" y="282414"/>
                    </a:lnTo>
                    <a:lnTo>
                      <a:pt x="1146592" y="293294"/>
                    </a:lnTo>
                    <a:lnTo>
                      <a:pt x="1153166" y="304173"/>
                    </a:lnTo>
                    <a:lnTo>
                      <a:pt x="1159513" y="315279"/>
                    </a:lnTo>
                    <a:lnTo>
                      <a:pt x="1165634" y="326159"/>
                    </a:lnTo>
                    <a:lnTo>
                      <a:pt x="1171527" y="337492"/>
                    </a:lnTo>
                    <a:lnTo>
                      <a:pt x="1177195" y="348598"/>
                    </a:lnTo>
                    <a:lnTo>
                      <a:pt x="1182408" y="360157"/>
                    </a:lnTo>
                    <a:lnTo>
                      <a:pt x="1187622" y="371490"/>
                    </a:lnTo>
                    <a:lnTo>
                      <a:pt x="1192610" y="383050"/>
                    </a:lnTo>
                    <a:lnTo>
                      <a:pt x="1197143" y="394609"/>
                    </a:lnTo>
                    <a:lnTo>
                      <a:pt x="1201677" y="406395"/>
                    </a:lnTo>
                    <a:lnTo>
                      <a:pt x="1205984" y="418181"/>
                    </a:lnTo>
                    <a:lnTo>
                      <a:pt x="1209611" y="429741"/>
                    </a:lnTo>
                    <a:lnTo>
                      <a:pt x="1213465" y="441754"/>
                    </a:lnTo>
                    <a:lnTo>
                      <a:pt x="1216865" y="453540"/>
                    </a:lnTo>
                    <a:lnTo>
                      <a:pt x="1219812" y="465552"/>
                    </a:lnTo>
                    <a:lnTo>
                      <a:pt x="1222986" y="477792"/>
                    </a:lnTo>
                    <a:lnTo>
                      <a:pt x="1225706" y="489578"/>
                    </a:lnTo>
                    <a:lnTo>
                      <a:pt x="1228200" y="501818"/>
                    </a:lnTo>
                    <a:lnTo>
                      <a:pt x="1230240" y="514057"/>
                    </a:lnTo>
                    <a:lnTo>
                      <a:pt x="1232280" y="526070"/>
                    </a:lnTo>
                    <a:lnTo>
                      <a:pt x="1233867" y="538536"/>
                    </a:lnTo>
                    <a:lnTo>
                      <a:pt x="1235680" y="550775"/>
                    </a:lnTo>
                    <a:lnTo>
                      <a:pt x="1236814" y="563015"/>
                    </a:lnTo>
                    <a:lnTo>
                      <a:pt x="1237720" y="575254"/>
                    </a:lnTo>
                    <a:lnTo>
                      <a:pt x="1238401" y="587720"/>
                    </a:lnTo>
                    <a:lnTo>
                      <a:pt x="1239081" y="599733"/>
                    </a:lnTo>
                    <a:lnTo>
                      <a:pt x="1239307" y="612199"/>
                    </a:lnTo>
                    <a:lnTo>
                      <a:pt x="1239307" y="624665"/>
                    </a:lnTo>
                    <a:lnTo>
                      <a:pt x="1239081" y="636678"/>
                    </a:lnTo>
                    <a:lnTo>
                      <a:pt x="1238627" y="649144"/>
                    </a:lnTo>
                    <a:lnTo>
                      <a:pt x="1237947" y="661610"/>
                    </a:lnTo>
                    <a:lnTo>
                      <a:pt x="1237040" y="673623"/>
                    </a:lnTo>
                    <a:lnTo>
                      <a:pt x="1235907" y="686089"/>
                    </a:lnTo>
                    <a:lnTo>
                      <a:pt x="1234320" y="698102"/>
                    </a:lnTo>
                    <a:lnTo>
                      <a:pt x="1232507" y="710341"/>
                    </a:lnTo>
                    <a:lnTo>
                      <a:pt x="1230693" y="722807"/>
                    </a:lnTo>
                    <a:lnTo>
                      <a:pt x="1228653" y="734820"/>
                    </a:lnTo>
                    <a:lnTo>
                      <a:pt x="1226159" y="746833"/>
                    </a:lnTo>
                    <a:lnTo>
                      <a:pt x="1223439" y="759073"/>
                    </a:lnTo>
                    <a:lnTo>
                      <a:pt x="1220719" y="771085"/>
                    </a:lnTo>
                    <a:lnTo>
                      <a:pt x="1217545" y="783098"/>
                    </a:lnTo>
                    <a:lnTo>
                      <a:pt x="1214145" y="795111"/>
                    </a:lnTo>
                    <a:lnTo>
                      <a:pt x="1210518" y="806897"/>
                    </a:lnTo>
                    <a:lnTo>
                      <a:pt x="1206664" y="818683"/>
                    </a:lnTo>
                    <a:lnTo>
                      <a:pt x="1202357" y="830469"/>
                    </a:lnTo>
                    <a:lnTo>
                      <a:pt x="1198277" y="842255"/>
                    </a:lnTo>
                    <a:lnTo>
                      <a:pt x="1193516" y="853588"/>
                    </a:lnTo>
                    <a:lnTo>
                      <a:pt x="1188529" y="865374"/>
                    </a:lnTo>
                    <a:lnTo>
                      <a:pt x="1183769" y="876934"/>
                    </a:lnTo>
                    <a:lnTo>
                      <a:pt x="1178328" y="888267"/>
                    </a:lnTo>
                    <a:lnTo>
                      <a:pt x="1172661" y="899599"/>
                    </a:lnTo>
                    <a:lnTo>
                      <a:pt x="1166767" y="910706"/>
                    </a:lnTo>
                    <a:lnTo>
                      <a:pt x="1160646" y="921812"/>
                    </a:lnTo>
                    <a:lnTo>
                      <a:pt x="1534229" y="1295115"/>
                    </a:lnTo>
                    <a:lnTo>
                      <a:pt x="1540350" y="1301461"/>
                    </a:lnTo>
                    <a:lnTo>
                      <a:pt x="1545790" y="1308034"/>
                    </a:lnTo>
                    <a:lnTo>
                      <a:pt x="1551231" y="1314607"/>
                    </a:lnTo>
                    <a:lnTo>
                      <a:pt x="1556445" y="1321407"/>
                    </a:lnTo>
                    <a:lnTo>
                      <a:pt x="1560752" y="1328433"/>
                    </a:lnTo>
                    <a:lnTo>
                      <a:pt x="1565286" y="1335460"/>
                    </a:lnTo>
                    <a:lnTo>
                      <a:pt x="1569366" y="1342713"/>
                    </a:lnTo>
                    <a:lnTo>
                      <a:pt x="1572766" y="1349966"/>
                    </a:lnTo>
                    <a:lnTo>
                      <a:pt x="1576167" y="1357219"/>
                    </a:lnTo>
                    <a:lnTo>
                      <a:pt x="1578887" y="1364698"/>
                    </a:lnTo>
                    <a:lnTo>
                      <a:pt x="1581381" y="1372178"/>
                    </a:lnTo>
                    <a:lnTo>
                      <a:pt x="1583648" y="1379658"/>
                    </a:lnTo>
                    <a:lnTo>
                      <a:pt x="1585461" y="1387137"/>
                    </a:lnTo>
                    <a:lnTo>
                      <a:pt x="1586821" y="1394617"/>
                    </a:lnTo>
                    <a:lnTo>
                      <a:pt x="1587955" y="1402323"/>
                    </a:lnTo>
                    <a:lnTo>
                      <a:pt x="1588635" y="1409803"/>
                    </a:lnTo>
                    <a:lnTo>
                      <a:pt x="1589088" y="1417283"/>
                    </a:lnTo>
                    <a:lnTo>
                      <a:pt x="1589088" y="1424762"/>
                    </a:lnTo>
                    <a:lnTo>
                      <a:pt x="1588861" y="1432242"/>
                    </a:lnTo>
                    <a:lnTo>
                      <a:pt x="1588181" y="1439495"/>
                    </a:lnTo>
                    <a:lnTo>
                      <a:pt x="1587274" y="1446748"/>
                    </a:lnTo>
                    <a:lnTo>
                      <a:pt x="1585914" y="1454001"/>
                    </a:lnTo>
                    <a:lnTo>
                      <a:pt x="1584101" y="1461027"/>
                    </a:lnTo>
                    <a:lnTo>
                      <a:pt x="1581834" y="1467827"/>
                    </a:lnTo>
                    <a:lnTo>
                      <a:pt x="1579340" y="1474627"/>
                    </a:lnTo>
                    <a:lnTo>
                      <a:pt x="1576620" y="1481200"/>
                    </a:lnTo>
                    <a:lnTo>
                      <a:pt x="1573220" y="1487773"/>
                    </a:lnTo>
                    <a:lnTo>
                      <a:pt x="1569593" y="1494119"/>
                    </a:lnTo>
                    <a:lnTo>
                      <a:pt x="1565512" y="1500239"/>
                    </a:lnTo>
                    <a:lnTo>
                      <a:pt x="1561432" y="1506132"/>
                    </a:lnTo>
                    <a:lnTo>
                      <a:pt x="1556445" y="1511572"/>
                    </a:lnTo>
                    <a:lnTo>
                      <a:pt x="1551231" y="1517011"/>
                    </a:lnTo>
                    <a:lnTo>
                      <a:pt x="1517228" y="1551237"/>
                    </a:lnTo>
                    <a:lnTo>
                      <a:pt x="1511787" y="1556223"/>
                    </a:lnTo>
                    <a:lnTo>
                      <a:pt x="1506120" y="1561209"/>
                    </a:lnTo>
                    <a:lnTo>
                      <a:pt x="1500226" y="1565516"/>
                    </a:lnTo>
                    <a:lnTo>
                      <a:pt x="1494106" y="1569369"/>
                    </a:lnTo>
                    <a:lnTo>
                      <a:pt x="1487985" y="1573222"/>
                    </a:lnTo>
                    <a:lnTo>
                      <a:pt x="1481411" y="1576395"/>
                    </a:lnTo>
                    <a:lnTo>
                      <a:pt x="1474837" y="1579342"/>
                    </a:lnTo>
                    <a:lnTo>
                      <a:pt x="1468036" y="1581835"/>
                    </a:lnTo>
                    <a:lnTo>
                      <a:pt x="1461009" y="1583875"/>
                    </a:lnTo>
                    <a:lnTo>
                      <a:pt x="1453982" y="1585688"/>
                    </a:lnTo>
                    <a:lnTo>
                      <a:pt x="1446728" y="1587275"/>
                    </a:lnTo>
                    <a:lnTo>
                      <a:pt x="1439474" y="1588182"/>
                    </a:lnTo>
                    <a:lnTo>
                      <a:pt x="1432219" y="1588862"/>
                    </a:lnTo>
                    <a:lnTo>
                      <a:pt x="1424739" y="1589088"/>
                    </a:lnTo>
                    <a:lnTo>
                      <a:pt x="1417258" y="1589088"/>
                    </a:lnTo>
                    <a:lnTo>
                      <a:pt x="1409777" y="1588862"/>
                    </a:lnTo>
                    <a:lnTo>
                      <a:pt x="1402296" y="1587955"/>
                    </a:lnTo>
                    <a:lnTo>
                      <a:pt x="1394589" y="1587048"/>
                    </a:lnTo>
                    <a:lnTo>
                      <a:pt x="1387108" y="1585235"/>
                    </a:lnTo>
                    <a:lnTo>
                      <a:pt x="1379628" y="1583422"/>
                    </a:lnTo>
                    <a:lnTo>
                      <a:pt x="1372147" y="1581382"/>
                    </a:lnTo>
                    <a:lnTo>
                      <a:pt x="1364666" y="1578662"/>
                    </a:lnTo>
                    <a:lnTo>
                      <a:pt x="1357186" y="1575942"/>
                    </a:lnTo>
                    <a:lnTo>
                      <a:pt x="1349931" y="1572769"/>
                    </a:lnTo>
                    <a:lnTo>
                      <a:pt x="1342677" y="1569142"/>
                    </a:lnTo>
                    <a:lnTo>
                      <a:pt x="1335423" y="1565289"/>
                    </a:lnTo>
                    <a:lnTo>
                      <a:pt x="1328396" y="1560756"/>
                    </a:lnTo>
                    <a:lnTo>
                      <a:pt x="1321369" y="1556223"/>
                    </a:lnTo>
                    <a:lnTo>
                      <a:pt x="1314568" y="1551237"/>
                    </a:lnTo>
                    <a:lnTo>
                      <a:pt x="1307994" y="1545797"/>
                    </a:lnTo>
                    <a:lnTo>
                      <a:pt x="1301420" y="1540130"/>
                    </a:lnTo>
                    <a:lnTo>
                      <a:pt x="1295299" y="1534011"/>
                    </a:lnTo>
                    <a:lnTo>
                      <a:pt x="921716" y="1160708"/>
                    </a:lnTo>
                    <a:lnTo>
                      <a:pt x="910835" y="1166827"/>
                    </a:lnTo>
                    <a:lnTo>
                      <a:pt x="899501" y="1172720"/>
                    </a:lnTo>
                    <a:lnTo>
                      <a:pt x="888166" y="1178160"/>
                    </a:lnTo>
                    <a:lnTo>
                      <a:pt x="876832" y="1183600"/>
                    </a:lnTo>
                    <a:lnTo>
                      <a:pt x="865498" y="1188586"/>
                    </a:lnTo>
                    <a:lnTo>
                      <a:pt x="853710" y="1193346"/>
                    </a:lnTo>
                    <a:lnTo>
                      <a:pt x="842375" y="1198106"/>
                    </a:lnTo>
                    <a:lnTo>
                      <a:pt x="830588" y="1202412"/>
                    </a:lnTo>
                    <a:lnTo>
                      <a:pt x="818573" y="1206492"/>
                    </a:lnTo>
                    <a:lnTo>
                      <a:pt x="807012" y="1210572"/>
                    </a:lnTo>
                    <a:lnTo>
                      <a:pt x="794997" y="1213972"/>
                    </a:lnTo>
                    <a:lnTo>
                      <a:pt x="783210" y="1217598"/>
                    </a:lnTo>
                    <a:lnTo>
                      <a:pt x="771195" y="1220545"/>
                    </a:lnTo>
                    <a:lnTo>
                      <a:pt x="758954" y="1223265"/>
                    </a:lnTo>
                    <a:lnTo>
                      <a:pt x="746939" y="1226211"/>
                    </a:lnTo>
                    <a:lnTo>
                      <a:pt x="734698" y="1228478"/>
                    </a:lnTo>
                    <a:lnTo>
                      <a:pt x="722457" y="1230518"/>
                    </a:lnTo>
                    <a:lnTo>
                      <a:pt x="710442" y="1232784"/>
                    </a:lnTo>
                    <a:lnTo>
                      <a:pt x="698201" y="1234371"/>
                    </a:lnTo>
                    <a:lnTo>
                      <a:pt x="685960" y="1235731"/>
                    </a:lnTo>
                    <a:lnTo>
                      <a:pt x="673719" y="1236864"/>
                    </a:lnTo>
                    <a:lnTo>
                      <a:pt x="661478" y="1237771"/>
                    </a:lnTo>
                    <a:lnTo>
                      <a:pt x="649010" y="1238451"/>
                    </a:lnTo>
                    <a:lnTo>
                      <a:pt x="636769" y="1239131"/>
                    </a:lnTo>
                    <a:lnTo>
                      <a:pt x="624527" y="1239357"/>
                    </a:lnTo>
                    <a:lnTo>
                      <a:pt x="612060" y="1239357"/>
                    </a:lnTo>
                    <a:lnTo>
                      <a:pt x="599818" y="1239131"/>
                    </a:lnTo>
                    <a:lnTo>
                      <a:pt x="587577" y="1238451"/>
                    </a:lnTo>
                    <a:lnTo>
                      <a:pt x="575109" y="1237544"/>
                    </a:lnTo>
                    <a:lnTo>
                      <a:pt x="562868" y="1236638"/>
                    </a:lnTo>
                    <a:lnTo>
                      <a:pt x="550627" y="1235504"/>
                    </a:lnTo>
                    <a:lnTo>
                      <a:pt x="538612" y="1233918"/>
                    </a:lnTo>
                    <a:lnTo>
                      <a:pt x="526145" y="1232331"/>
                    </a:lnTo>
                    <a:lnTo>
                      <a:pt x="513903" y="1230291"/>
                    </a:lnTo>
                    <a:lnTo>
                      <a:pt x="501889" y="1228025"/>
                    </a:lnTo>
                    <a:lnTo>
                      <a:pt x="489648" y="1225758"/>
                    </a:lnTo>
                    <a:lnTo>
                      <a:pt x="477633" y="1222811"/>
                    </a:lnTo>
                    <a:lnTo>
                      <a:pt x="465619" y="1219865"/>
                    </a:lnTo>
                    <a:lnTo>
                      <a:pt x="453604" y="1216918"/>
                    </a:lnTo>
                    <a:lnTo>
                      <a:pt x="441590" y="1213292"/>
                    </a:lnTo>
                    <a:lnTo>
                      <a:pt x="429802" y="1209665"/>
                    </a:lnTo>
                    <a:lnTo>
                      <a:pt x="418014" y="1205812"/>
                    </a:lnTo>
                    <a:lnTo>
                      <a:pt x="406453" y="1201506"/>
                    </a:lnTo>
                    <a:lnTo>
                      <a:pt x="394665" y="1197199"/>
                    </a:lnTo>
                    <a:lnTo>
                      <a:pt x="383104" y="1192440"/>
                    </a:lnTo>
                    <a:lnTo>
                      <a:pt x="371543" y="1187680"/>
                    </a:lnTo>
                    <a:lnTo>
                      <a:pt x="359982" y="1182467"/>
                    </a:lnTo>
                    <a:lnTo>
                      <a:pt x="348647" y="1177027"/>
                    </a:lnTo>
                    <a:lnTo>
                      <a:pt x="337313" y="1171360"/>
                    </a:lnTo>
                    <a:lnTo>
                      <a:pt x="326205" y="1165694"/>
                    </a:lnTo>
                    <a:lnTo>
                      <a:pt x="315097" y="1159574"/>
                    </a:lnTo>
                    <a:lnTo>
                      <a:pt x="304216" y="1153228"/>
                    </a:lnTo>
                    <a:lnTo>
                      <a:pt x="293109" y="1146655"/>
                    </a:lnTo>
                    <a:lnTo>
                      <a:pt x="282454" y="1139629"/>
                    </a:lnTo>
                    <a:lnTo>
                      <a:pt x="272026" y="1132602"/>
                    </a:lnTo>
                    <a:lnTo>
                      <a:pt x="261145" y="1125349"/>
                    </a:lnTo>
                    <a:lnTo>
                      <a:pt x="250944" y="1117643"/>
                    </a:lnTo>
                    <a:lnTo>
                      <a:pt x="240517" y="1109937"/>
                    </a:lnTo>
                    <a:lnTo>
                      <a:pt x="230316" y="1101777"/>
                    </a:lnTo>
                    <a:lnTo>
                      <a:pt x="220341" y="1093617"/>
                    </a:lnTo>
                    <a:lnTo>
                      <a:pt x="210367" y="1085004"/>
                    </a:lnTo>
                    <a:lnTo>
                      <a:pt x="200620" y="1076391"/>
                    </a:lnTo>
                    <a:lnTo>
                      <a:pt x="191099" y="1067099"/>
                    </a:lnTo>
                    <a:lnTo>
                      <a:pt x="181578" y="1057806"/>
                    </a:lnTo>
                    <a:lnTo>
                      <a:pt x="170470" y="1046473"/>
                    </a:lnTo>
                    <a:lnTo>
                      <a:pt x="159589" y="1034913"/>
                    </a:lnTo>
                    <a:lnTo>
                      <a:pt x="149161" y="1022901"/>
                    </a:lnTo>
                    <a:lnTo>
                      <a:pt x="139187" y="1010888"/>
                    </a:lnTo>
                    <a:lnTo>
                      <a:pt x="129213" y="998648"/>
                    </a:lnTo>
                    <a:lnTo>
                      <a:pt x="119918" y="985956"/>
                    </a:lnTo>
                    <a:lnTo>
                      <a:pt x="110851" y="973489"/>
                    </a:lnTo>
                    <a:lnTo>
                      <a:pt x="102237" y="960797"/>
                    </a:lnTo>
                    <a:lnTo>
                      <a:pt x="93849" y="947651"/>
                    </a:lnTo>
                    <a:lnTo>
                      <a:pt x="85688" y="934505"/>
                    </a:lnTo>
                    <a:lnTo>
                      <a:pt x="78208" y="921358"/>
                    </a:lnTo>
                    <a:lnTo>
                      <a:pt x="70954" y="907986"/>
                    </a:lnTo>
                    <a:lnTo>
                      <a:pt x="64153" y="894386"/>
                    </a:lnTo>
                    <a:lnTo>
                      <a:pt x="57579" y="880560"/>
                    </a:lnTo>
                    <a:lnTo>
                      <a:pt x="51232" y="866734"/>
                    </a:lnTo>
                    <a:lnTo>
                      <a:pt x="45338" y="852908"/>
                    </a:lnTo>
                    <a:lnTo>
                      <a:pt x="39897" y="838856"/>
                    </a:lnTo>
                    <a:lnTo>
                      <a:pt x="34910" y="824803"/>
                    </a:lnTo>
                    <a:lnTo>
                      <a:pt x="30150" y="810524"/>
                    </a:lnTo>
                    <a:lnTo>
                      <a:pt x="25616" y="796244"/>
                    </a:lnTo>
                    <a:lnTo>
                      <a:pt x="21535" y="781738"/>
                    </a:lnTo>
                    <a:lnTo>
                      <a:pt x="17682" y="767232"/>
                    </a:lnTo>
                    <a:lnTo>
                      <a:pt x="14508" y="752726"/>
                    </a:lnTo>
                    <a:lnTo>
                      <a:pt x="11334" y="738220"/>
                    </a:lnTo>
                    <a:lnTo>
                      <a:pt x="8841" y="723487"/>
                    </a:lnTo>
                    <a:lnTo>
                      <a:pt x="6574" y="708755"/>
                    </a:lnTo>
                    <a:lnTo>
                      <a:pt x="4307" y="694022"/>
                    </a:lnTo>
                    <a:lnTo>
                      <a:pt x="2947" y="679289"/>
                    </a:lnTo>
                    <a:lnTo>
                      <a:pt x="1587" y="664330"/>
                    </a:lnTo>
                    <a:lnTo>
                      <a:pt x="680" y="649597"/>
                    </a:lnTo>
                    <a:lnTo>
                      <a:pt x="227" y="634638"/>
                    </a:lnTo>
                    <a:lnTo>
                      <a:pt x="0" y="619905"/>
                    </a:lnTo>
                    <a:lnTo>
                      <a:pt x="227" y="604946"/>
                    </a:lnTo>
                    <a:lnTo>
                      <a:pt x="680" y="589987"/>
                    </a:lnTo>
                    <a:lnTo>
                      <a:pt x="1587" y="575254"/>
                    </a:lnTo>
                    <a:lnTo>
                      <a:pt x="2947" y="560295"/>
                    </a:lnTo>
                    <a:lnTo>
                      <a:pt x="4307" y="545562"/>
                    </a:lnTo>
                    <a:lnTo>
                      <a:pt x="6574" y="530830"/>
                    </a:lnTo>
                    <a:lnTo>
                      <a:pt x="8841" y="516097"/>
                    </a:lnTo>
                    <a:lnTo>
                      <a:pt x="11334" y="501364"/>
                    </a:lnTo>
                    <a:lnTo>
                      <a:pt x="14508" y="486858"/>
                    </a:lnTo>
                    <a:lnTo>
                      <a:pt x="17682" y="472352"/>
                    </a:lnTo>
                    <a:lnTo>
                      <a:pt x="21535" y="457846"/>
                    </a:lnTo>
                    <a:lnTo>
                      <a:pt x="25616" y="443340"/>
                    </a:lnTo>
                    <a:lnTo>
                      <a:pt x="30150" y="429061"/>
                    </a:lnTo>
                    <a:lnTo>
                      <a:pt x="34910" y="414781"/>
                    </a:lnTo>
                    <a:lnTo>
                      <a:pt x="39897" y="400502"/>
                    </a:lnTo>
                    <a:lnTo>
                      <a:pt x="45338" y="386449"/>
                    </a:lnTo>
                    <a:lnTo>
                      <a:pt x="51232" y="372850"/>
                    </a:lnTo>
                    <a:lnTo>
                      <a:pt x="57579" y="359024"/>
                    </a:lnTo>
                    <a:lnTo>
                      <a:pt x="64153" y="345198"/>
                    </a:lnTo>
                    <a:lnTo>
                      <a:pt x="70954" y="331599"/>
                    </a:lnTo>
                    <a:lnTo>
                      <a:pt x="78208" y="318226"/>
                    </a:lnTo>
                    <a:lnTo>
                      <a:pt x="85688" y="304853"/>
                    </a:lnTo>
                    <a:lnTo>
                      <a:pt x="93849" y="291934"/>
                    </a:lnTo>
                    <a:lnTo>
                      <a:pt x="102237" y="278788"/>
                    </a:lnTo>
                    <a:lnTo>
                      <a:pt x="110851" y="266095"/>
                    </a:lnTo>
                    <a:lnTo>
                      <a:pt x="119918" y="253402"/>
                    </a:lnTo>
                    <a:lnTo>
                      <a:pt x="129213" y="240936"/>
                    </a:lnTo>
                    <a:lnTo>
                      <a:pt x="139187" y="228697"/>
                    </a:lnTo>
                    <a:lnTo>
                      <a:pt x="149161" y="216457"/>
                    </a:lnTo>
                    <a:lnTo>
                      <a:pt x="159589" y="204671"/>
                    </a:lnTo>
                    <a:lnTo>
                      <a:pt x="170470" y="193111"/>
                    </a:lnTo>
                    <a:lnTo>
                      <a:pt x="181578" y="181779"/>
                    </a:lnTo>
                    <a:lnTo>
                      <a:pt x="193139" y="170446"/>
                    </a:lnTo>
                    <a:lnTo>
                      <a:pt x="204473" y="159793"/>
                    </a:lnTo>
                    <a:lnTo>
                      <a:pt x="216488" y="149140"/>
                    </a:lnTo>
                    <a:lnTo>
                      <a:pt x="228729" y="139167"/>
                    </a:lnTo>
                    <a:lnTo>
                      <a:pt x="240743" y="129421"/>
                    </a:lnTo>
                    <a:lnTo>
                      <a:pt x="253438" y="119901"/>
                    </a:lnTo>
                    <a:lnTo>
                      <a:pt x="266133" y="110835"/>
                    </a:lnTo>
                    <a:lnTo>
                      <a:pt x="278600" y="102222"/>
                    </a:lnTo>
                    <a:lnTo>
                      <a:pt x="291748" y="93836"/>
                    </a:lnTo>
                    <a:lnTo>
                      <a:pt x="304896" y="85903"/>
                    </a:lnTo>
                    <a:lnTo>
                      <a:pt x="318271" y="78423"/>
                    </a:lnTo>
                    <a:lnTo>
                      <a:pt x="331646" y="71170"/>
                    </a:lnTo>
                    <a:lnTo>
                      <a:pt x="345020" y="64144"/>
                    </a:lnTo>
                    <a:lnTo>
                      <a:pt x="358848" y="57571"/>
                    </a:lnTo>
                    <a:lnTo>
                      <a:pt x="372676" y="51451"/>
                    </a:lnTo>
                    <a:lnTo>
                      <a:pt x="386504" y="45558"/>
                    </a:lnTo>
                    <a:lnTo>
                      <a:pt x="400559" y="40118"/>
                    </a:lnTo>
                    <a:lnTo>
                      <a:pt x="414840" y="34905"/>
                    </a:lnTo>
                    <a:lnTo>
                      <a:pt x="429122" y="30146"/>
                    </a:lnTo>
                    <a:lnTo>
                      <a:pt x="443403" y="25839"/>
                    </a:lnTo>
                    <a:lnTo>
                      <a:pt x="457911" y="21533"/>
                    </a:lnTo>
                    <a:lnTo>
                      <a:pt x="472419" y="17906"/>
                    </a:lnTo>
                    <a:lnTo>
                      <a:pt x="486927" y="14506"/>
                    </a:lnTo>
                    <a:lnTo>
                      <a:pt x="501435" y="11560"/>
                    </a:lnTo>
                    <a:lnTo>
                      <a:pt x="515944" y="8840"/>
                    </a:lnTo>
                    <a:lnTo>
                      <a:pt x="530678" y="6573"/>
                    </a:lnTo>
                    <a:lnTo>
                      <a:pt x="545413" y="4533"/>
                    </a:lnTo>
                    <a:lnTo>
                      <a:pt x="560148" y="3173"/>
                    </a:lnTo>
                    <a:lnTo>
                      <a:pt x="575109" y="1587"/>
                    </a:lnTo>
                    <a:lnTo>
                      <a:pt x="589844" y="907"/>
                    </a:lnTo>
                    <a:lnTo>
                      <a:pt x="604806" y="227"/>
                    </a:lnTo>
                    <a:lnTo>
                      <a:pt x="619540" y="0"/>
                    </a:lnTo>
                    <a:close/>
                  </a:path>
                </a:pathLst>
              </a:custGeom>
              <a:solidFill>
                <a:srgbClr val="FFFFFF"/>
              </a:solidFill>
              <a:ln>
                <a:noFill/>
              </a:ln>
            </p:spPr>
            <p:txBody>
              <a:bodyPr wrap="square" lIns="91440" tIns="45720" rIns="91440" bIns="45720" anchor="ctr">
                <a:normAutofit lnSpcReduction="10000"/>
                <a:scene3d>
                  <a:camera prst="orthographicFront"/>
                  <a:lightRig rig="threePt" dir="t"/>
                </a:scene3d>
                <a:sp3d>
                  <a:contourClr>
                    <a:srgbClr val="FFFFFF"/>
                  </a:contourClr>
                </a:sp3d>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grpSp>
        <p:sp>
          <p:nvSpPr>
            <p:cNvPr id="9" name="Title"/>
            <p:cNvSpPr txBox="1"/>
            <p:nvPr/>
          </p:nvSpPr>
          <p:spPr>
            <a:xfrm>
              <a:off x="660400" y="1320800"/>
              <a:ext cx="10858500" cy="711200"/>
            </a:xfrm>
            <a:prstGeom prst="rect">
              <a:avLst/>
            </a:prstGeom>
            <a:noFill/>
          </p:spPr>
          <p:txBody>
            <a:bodyPr vert="horz" wrap="square" rtlCol="0" anchor="t" anchorCtr="1">
              <a:normAutofit/>
            </a:bodyPr>
            <a:lstStyle/>
            <a:p>
              <a:pPr algn="ctr"/>
              <a:r>
                <a:rPr sz="2400" b="1"/>
                <a:t>请输入文本内容请输入文本内容</a:t>
              </a:r>
              <a:endParaRPr sz="2400" b="1"/>
            </a:p>
          </p:txBody>
        </p:sp>
      </p:grpSp>
      <p:sp>
        <p:nvSpPr>
          <p:cNvPr id="2" name="标题 1"/>
          <p:cNvSpPr>
            <a:spLocks noGrp="1"/>
          </p:cNvSpPr>
          <p:nvPr>
            <p:ph type="title"/>
          </p:nvPr>
        </p:nvSpPr>
        <p:spPr/>
        <p:txBody>
          <a:bodyPr/>
          <a:lstStyle/>
          <a:p>
            <a:r>
              <a:rPr lang="zh-CN" altLang="en-US"/>
              <a:t>单击此处添加标题</a:t>
            </a:r>
            <a:endParaRPr lang="zh-CN"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BEBA8EAE-BF5A-486C-A8C5-ECC9F3942E4B}">
                <a14:imgProps xmlns:a14="http://schemas.microsoft.com/office/drawing/2010/main">
                  <a14:imgLayer r:embed="rId2">
                    <a14:imgEffect>
                      <a14:saturation sat="72000"/>
                    </a14:imgEffect>
                  </a14:imgLayer>
                </a14:imgProps>
              </a:ext>
              <a:ext uri="{28A0092B-C50C-407E-A947-70E740481C1C}">
                <a14:useLocalDpi xmlns:a14="http://schemas.microsoft.com/office/drawing/2010/main" val="0"/>
              </a:ext>
            </a:extLst>
          </a:blip>
          <a:stretch>
            <a:fillRect/>
          </a:stretch>
        </p:blipFill>
        <p:spPr>
          <a:xfrm>
            <a:off x="1943957" y="2108708"/>
            <a:ext cx="11279950" cy="5631603"/>
          </a:xfrm>
          <a:prstGeom prst="rect">
            <a:avLst/>
          </a:prstGeom>
        </p:spPr>
      </p:pic>
      <p:sp>
        <p:nvSpPr>
          <p:cNvPr id="3" name="副标题 2"/>
          <p:cNvSpPr>
            <a:spLocks noGrp="1"/>
          </p:cNvSpPr>
          <p:nvPr>
            <p:ph type="subTitle" idx="1"/>
          </p:nvPr>
        </p:nvSpPr>
        <p:spPr>
          <a:xfrm>
            <a:off x="687659" y="3114469"/>
            <a:ext cx="5173397" cy="558799"/>
          </a:xfrm>
        </p:spPr>
        <p:txBody>
          <a:bodyPr>
            <a:normAutofit lnSpcReduction="20000"/>
          </a:bodyPr>
          <a:lstStyle/>
          <a:p>
            <a:pPr algn="l"/>
            <a:r>
              <a:rPr sz="2800" dirty="0"/>
              <a:t>单击此处添加标题</a:t>
            </a:r>
            <a:endParaRPr sz="2800" dirty="0"/>
          </a:p>
        </p:txBody>
      </p:sp>
      <p:sp>
        <p:nvSpPr>
          <p:cNvPr id="5" name="标题 4"/>
          <p:cNvSpPr>
            <a:spLocks noGrp="1"/>
          </p:cNvSpPr>
          <p:nvPr>
            <p:ph type="ctrTitle" hasCustomPrompt="1"/>
          </p:nvPr>
        </p:nvSpPr>
        <p:spPr>
          <a:xfrm>
            <a:off x="687659" y="2108708"/>
            <a:ext cx="7594600" cy="809926"/>
          </a:xfrm>
        </p:spPr>
        <p:txBody>
          <a:bodyPr anchor="t">
            <a:noAutofit/>
          </a:bodyPr>
          <a:lstStyle/>
          <a:p>
            <a:pPr algn="l"/>
            <a:r>
              <a:rPr lang="zh-CN" altLang="en-US" sz="5400" dirty="0"/>
              <a:t>单击此处添加标题</a:t>
            </a:r>
            <a:endParaRPr lang="zh-CN" altLang="en-US" sz="5400" dirty="0"/>
          </a:p>
        </p:txBody>
      </p:sp>
      <p:sp>
        <p:nvSpPr>
          <p:cNvPr id="25" name="文本占位符 24"/>
          <p:cNvSpPr>
            <a:spLocks noGrp="1"/>
          </p:cNvSpPr>
          <p:nvPr>
            <p:ph type="body" sz="quarter" idx="10" hasCustomPrompt="1"/>
          </p:nvPr>
        </p:nvSpPr>
        <p:spPr/>
        <p:txBody>
          <a:bodyPr/>
          <a:lstStyle/>
          <a:p>
            <a:r>
              <a:rPr lang="zh-CN" altLang="en-US" dirty="0"/>
              <a:t>有效提升教学效果的策略与技巧</a:t>
            </a:r>
            <a:endParaRPr lang="en-US" dirty="0"/>
          </a:p>
        </p:txBody>
      </p:sp>
      <p:pic>
        <p:nvPicPr>
          <p:cNvPr id="10" name="图形 9"/>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7659" y="588423"/>
            <a:ext cx="2541625" cy="567278"/>
          </a:xfrm>
          <a:prstGeom prst="rect">
            <a:avLst/>
          </a:prstGeom>
        </p:spPr>
      </p:pic>
      <p:sp>
        <p:nvSpPr>
          <p:cNvPr id="12" name="任意多边形: 形状 11"/>
          <p:cNvSpPr/>
          <p:nvPr/>
        </p:nvSpPr>
        <p:spPr>
          <a:xfrm>
            <a:off x="0" y="5450748"/>
            <a:ext cx="1409700" cy="1407254"/>
          </a:xfrm>
          <a:custGeom>
            <a:avLst/>
            <a:gdLst>
              <a:gd name="connsiteX0" fmla="*/ 22977 w 951094"/>
              <a:gd name="connsiteY0" fmla="*/ 0 h 949443"/>
              <a:gd name="connsiteX1" fmla="*/ 951094 w 951094"/>
              <a:gd name="connsiteY1" fmla="*/ 928117 h 949443"/>
              <a:gd name="connsiteX2" fmla="*/ 948944 w 951094"/>
              <a:gd name="connsiteY2" fmla="*/ 949443 h 949443"/>
              <a:gd name="connsiteX3" fmla="*/ 0 w 951094"/>
              <a:gd name="connsiteY3" fmla="*/ 949443 h 949443"/>
              <a:gd name="connsiteX4" fmla="*/ 0 w 951094"/>
              <a:gd name="connsiteY4" fmla="*/ 1160 h 949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094" h="949443">
                <a:moveTo>
                  <a:pt x="22977" y="0"/>
                </a:moveTo>
                <a:cubicBezTo>
                  <a:pt x="535562" y="0"/>
                  <a:pt x="951094" y="415532"/>
                  <a:pt x="951094" y="928117"/>
                </a:cubicBezTo>
                <a:lnTo>
                  <a:pt x="948944" y="949443"/>
                </a:lnTo>
                <a:lnTo>
                  <a:pt x="0" y="949443"/>
                </a:lnTo>
                <a:lnTo>
                  <a:pt x="0" y="1160"/>
                </a:lnTo>
                <a:close/>
              </a:path>
            </a:pathLst>
          </a:cu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13" name="椭圆 12"/>
          <p:cNvSpPr/>
          <p:nvPr/>
        </p:nvSpPr>
        <p:spPr>
          <a:xfrm>
            <a:off x="10198100" y="538636"/>
            <a:ext cx="1219200" cy="1219200"/>
          </a:xfrm>
          <a:prstGeom prst="ellipse">
            <a:avLst/>
          </a:prstGeom>
          <a:gradFill>
            <a:gsLst>
              <a:gs pos="0">
                <a:schemeClr val="accent1">
                  <a:lumMod val="20000"/>
                  <a:lumOff val="80000"/>
                </a:schemeClr>
              </a:gs>
              <a:gs pos="100000">
                <a:schemeClr val="accent1"/>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800" b="1" dirty="0"/>
              <a:t>02.</a:t>
            </a:r>
            <a:endParaRPr lang="zh-CN" altLang="en-US" sz="2800" b="1"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0" y="0"/>
            <a:ext cx="12214860" cy="6858000"/>
            <a:chOff x="0" y="0"/>
            <a:chExt cx="12214860" cy="6858000"/>
          </a:xfrm>
        </p:grpSpPr>
        <p:grpSp>
          <p:nvGrpSpPr>
            <p:cNvPr id="4" name="组合 3"/>
            <p:cNvGrpSpPr/>
            <p:nvPr/>
          </p:nvGrpSpPr>
          <p:grpSpPr>
            <a:xfrm>
              <a:off x="0" y="0"/>
              <a:ext cx="5505450" cy="6858000"/>
              <a:chOff x="0" y="0"/>
              <a:chExt cx="5505450" cy="6858000"/>
            </a:xfrm>
          </p:grpSpPr>
          <p:sp>
            <p:nvSpPr>
              <p:cNvPr id="6" name="i$ļíde"/>
              <p:cNvSpPr/>
              <p:nvPr/>
            </p:nvSpPr>
            <p:spPr>
              <a:xfrm>
                <a:off x="0" y="0"/>
                <a:ext cx="5505450" cy="6858000"/>
              </a:xfrm>
              <a:prstGeom prst="rect">
                <a:avLst/>
              </a:prstGeom>
              <a:solidFill>
                <a:schemeClr val="accent1">
                  <a:alpha val="15000"/>
                </a:schemeClr>
              </a:solidFill>
              <a:ln w="19050">
                <a:noFill/>
                <a:round/>
              </a:ln>
            </p:spPr>
            <p:txBody>
              <a:bodyPr vert="horz" wrap="none" lIns="91440" tIns="45720" rIns="91440" bIns="45720" numCol="1" rtlCol="0" anchor="ctr" anchorCtr="1" compatLnSpc="1">
                <a:noAutofit/>
              </a:bodyPr>
              <a:lstStyle/>
              <a:p>
                <a:pPr lvl="0" algn="ctr"/>
                <a:endParaRPr lang="zh-CN" altLang="en-US" sz="1200" b="1" dirty="0"/>
              </a:p>
            </p:txBody>
          </p:sp>
          <p:sp>
            <p:nvSpPr>
              <p:cNvPr id="7" name="Title"/>
              <p:cNvSpPr/>
              <p:nvPr/>
            </p:nvSpPr>
            <p:spPr>
              <a:xfrm>
                <a:off x="660400" y="1318405"/>
                <a:ext cx="3973195" cy="900112"/>
              </a:xfrm>
              <a:prstGeom prst="rect">
                <a:avLst/>
              </a:prstGeom>
            </p:spPr>
            <p:txBody>
              <a:bodyPr anchor="t" anchorCtr="0">
                <a:normAutofit/>
              </a:bodyPr>
              <a:lstStyle/>
              <a:p>
                <a:pPr>
                  <a:buSzPct val="25000"/>
                </a:pPr>
                <a:r>
                  <a:rPr lang="zh-CN" altLang="en-US" sz="2400" b="1" dirty="0"/>
                  <a:t>请输入文本内容请输入文本内容</a:t>
                </a:r>
                <a:endParaRPr lang="zh-CN" altLang="en-US" sz="2400" b="1" dirty="0"/>
              </a:p>
            </p:txBody>
          </p:sp>
          <p:grpSp>
            <p:nvGrpSpPr>
              <p:cNvPr id="8" name="组合 7"/>
              <p:cNvGrpSpPr/>
              <p:nvPr/>
            </p:nvGrpSpPr>
            <p:grpSpPr>
              <a:xfrm>
                <a:off x="660400" y="2555099"/>
                <a:ext cx="3435985" cy="2483940"/>
                <a:chOff x="660400" y="2555099"/>
                <a:chExt cx="3435985" cy="2483940"/>
              </a:xfrm>
            </p:grpSpPr>
            <p:sp>
              <p:nvSpPr>
                <p:cNvPr id="9" name="Number"/>
                <p:cNvSpPr/>
                <p:nvPr/>
              </p:nvSpPr>
              <p:spPr>
                <a:xfrm>
                  <a:off x="698484" y="2555099"/>
                  <a:ext cx="2418080" cy="768350"/>
                </a:xfrm>
                <a:prstGeom prst="rect">
                  <a:avLst/>
                </a:prstGeom>
              </p:spPr>
              <p:txBody>
                <a:bodyPr wrap="none">
                  <a:spAutoFit/>
                </a:bodyPr>
                <a:lstStyle/>
                <a:p>
                  <a:pPr algn="ctr" defTabSz="913765"/>
                  <a:r>
                    <a:rPr lang="en-US" altLang="zh-CN" sz="4400" b="1" dirty="0">
                      <a:solidFill>
                        <a:schemeClr val="accent1"/>
                      </a:solidFill>
                    </a:rPr>
                    <a:t>文本内容</a:t>
                  </a:r>
                  <a:endParaRPr lang="en-US" altLang="zh-CN" sz="4400" b="1" dirty="0">
                    <a:solidFill>
                      <a:schemeClr val="accent1"/>
                    </a:solidFill>
                  </a:endParaRPr>
                </a:p>
              </p:txBody>
            </p:sp>
            <p:grpSp>
              <p:nvGrpSpPr>
                <p:cNvPr id="10" name="组合 9"/>
                <p:cNvGrpSpPr/>
                <p:nvPr/>
              </p:nvGrpSpPr>
              <p:grpSpPr>
                <a:xfrm>
                  <a:off x="660400" y="3429001"/>
                  <a:ext cx="3435985" cy="1610038"/>
                  <a:chOff x="660400" y="3429001"/>
                  <a:chExt cx="3435985" cy="1610038"/>
                </a:xfrm>
              </p:grpSpPr>
              <p:sp>
                <p:nvSpPr>
                  <p:cNvPr id="11" name="Bullet"/>
                  <p:cNvSpPr/>
                  <p:nvPr/>
                </p:nvSpPr>
                <p:spPr>
                  <a:xfrm>
                    <a:off x="660400" y="3429001"/>
                    <a:ext cx="3435985" cy="769442"/>
                  </a:xfrm>
                  <a:prstGeom prst="rect">
                    <a:avLst/>
                  </a:prstGeom>
                </p:spPr>
                <p:txBody>
                  <a:bodyPr wrap="square" anchor="b" anchorCtr="0">
                    <a:normAutofit/>
                  </a:bodyPr>
                  <a:lstStyle/>
                  <a:p>
                    <a:pPr>
                      <a:buSzPct val="25000"/>
                    </a:pPr>
                    <a:r>
                      <a:rPr lang="zh-CN" altLang="en-US" b="1"/>
                      <a:t>请输入文本内容</a:t>
                    </a:r>
                    <a:endParaRPr lang="zh-CN" altLang="en-US" b="1"/>
                  </a:p>
                </p:txBody>
              </p:sp>
              <p:sp>
                <p:nvSpPr>
                  <p:cNvPr id="12" name="Text"/>
                  <p:cNvSpPr/>
                  <p:nvPr/>
                </p:nvSpPr>
                <p:spPr>
                  <a:xfrm>
                    <a:off x="660400" y="4198443"/>
                    <a:ext cx="3435985" cy="840596"/>
                  </a:xfrm>
                  <a:prstGeom prst="rect">
                    <a:avLst/>
                  </a:prstGeom>
                </p:spPr>
                <p:txBody>
                  <a:bodyPr wrap="square" anchor="t" anchorCtr="0">
                    <a:normAutofit/>
                  </a:bodyPr>
                  <a:lstStyle/>
                  <a:p>
                    <a:pPr>
                      <a:lnSpc>
                        <a:spcPct val="120000"/>
                      </a:lnSpc>
                      <a:buSzPct val="25000"/>
                    </a:pPr>
                    <a:r>
                      <a:rPr lang="zh-CN" altLang="en-US" sz="1200"/>
                      <a:t>请输入文本内容请输入文本内容</a:t>
                    </a:r>
                    <a:endParaRPr lang="zh-CN" altLang="en-US" sz="1200"/>
                  </a:p>
                </p:txBody>
              </p:sp>
            </p:grpSp>
          </p:grpSp>
        </p:grpSp>
        <p:sp>
          <p:nvSpPr>
            <p:cNvPr id="5" name="Picture"/>
            <p:cNvSpPr/>
            <p:nvPr/>
          </p:nvSpPr>
          <p:spPr>
            <a:xfrm>
              <a:off x="4771207" y="1841307"/>
              <a:ext cx="7443653" cy="3940354"/>
            </a:xfrm>
            <a:prstGeom prst="roundRect">
              <a:avLst>
                <a:gd name="adj" fmla="val 6676"/>
              </a:avLst>
            </a:prstGeom>
            <a:blipFill>
              <a:blip r:embed="rId1">
                <a:extLst>
                  <a:ext uri="{28A0092B-C50C-407E-A947-70E740481C1C}">
                    <a14:useLocalDpi xmlns:a14="http://schemas.microsoft.com/office/drawing/2010/main" val="0"/>
                  </a:ext>
                </a:extLst>
              </a:blip>
              <a:stretch>
                <a:fillRect/>
              </a:stretch>
            </a:blip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lvl="0" algn="ctr"/>
              <a:endParaRPr lang="zh-CN" altLang="en-US" dirty="0">
                <a:solidFill>
                  <a:schemeClr val="tx1"/>
                </a:solidFill>
              </a:endParaRPr>
            </a:p>
          </p:txBody>
        </p:sp>
      </p:grpSp>
      <p:sp>
        <p:nvSpPr>
          <p:cNvPr id="2" name="标题 1"/>
          <p:cNvSpPr>
            <a:spLocks noGrp="1"/>
          </p:cNvSpPr>
          <p:nvPr>
            <p:ph type="title"/>
          </p:nvPr>
        </p:nvSpPr>
        <p:spPr/>
        <p:txBody>
          <a:bodyPr/>
          <a:lstStyle/>
          <a:p>
            <a:r>
              <a:rPr lang="zh-CN" altLang="en-US"/>
              <a:t>单击此处添加标题</a:t>
            </a:r>
            <a:endParaRPr lang="zh-CN" altLang="en-US"/>
          </a:p>
        </p:txBody>
      </p:sp>
    </p:spTree>
  </p:cSld>
  <p:clrMapOvr>
    <a:masterClrMapping/>
  </p:clrMapOvr>
</p:sld>
</file>

<file path=ppt/tags/tag1.xml><?xml version="1.0" encoding="utf-8"?>
<p:tagLst xmlns:p="http://schemas.openxmlformats.org/presentationml/2006/main">
  <p:tag name="ISLIDE.TEMPLATE" val="https://www.islide.cc;"/>
</p:tagLst>
</file>

<file path=ppt/tags/tag10.xml><?xml version="1.0" encoding="utf-8"?>
<p:tagLst xmlns:p="http://schemas.openxmlformats.org/presentationml/2006/main">
  <p:tag name="KSO_WM_DIAGRAM_VIRTUALLY_FRAME" val="{&quot;height&quot;:387.21645669291337,&quot;left&quot;:52,&quot;top&quot;:90.43708661417323,&quot;width&quot;:855}"/>
</p:tagLst>
</file>

<file path=ppt/tags/tag100.xml><?xml version="1.0" encoding="utf-8"?>
<p:tagLst xmlns:p="http://schemas.openxmlformats.org/presentationml/2006/main">
  <p:tag name="KSO_WM_DIAGRAM_VIRTUALLY_FRAME" val="{&quot;height&quot;:374.9944094488189,&quot;left&quot;:52,&quot;top&quot;:108.0055905511811,&quot;width&quot;:855}"/>
</p:tagLst>
</file>

<file path=ppt/tags/tag101.xml><?xml version="1.0" encoding="utf-8"?>
<p:tagLst xmlns:p="http://schemas.openxmlformats.org/presentationml/2006/main">
  <p:tag name="KSO_WM_DIAGRAM_VIRTUALLY_FRAME" val="{&quot;height&quot;:374.9944094488189,&quot;left&quot;:52,&quot;top&quot;:108.0055905511811,&quot;width&quot;:855}"/>
</p:tagLst>
</file>

<file path=ppt/tags/tag102.xml><?xml version="1.0" encoding="utf-8"?>
<p:tagLst xmlns:p="http://schemas.openxmlformats.org/presentationml/2006/main">
  <p:tag name="KSO_WM_DIAGRAM_VIRTUALLY_FRAME" val="{&quot;height&quot;:374.9944094488189,&quot;left&quot;:52,&quot;top&quot;:108.0055905511811,&quot;width&quot;:855}"/>
</p:tagLst>
</file>

<file path=ppt/tags/tag103.xml><?xml version="1.0" encoding="utf-8"?>
<p:tagLst xmlns:p="http://schemas.openxmlformats.org/presentationml/2006/main">
  <p:tag name="KSO_WM_DIAGRAM_VIRTUALLY_FRAME" val="{&quot;height&quot;:374.9944094488189,&quot;left&quot;:52,&quot;top&quot;:108.0055905511811,&quot;width&quot;:855}"/>
</p:tagLst>
</file>

<file path=ppt/tags/tag104.xml><?xml version="1.0" encoding="utf-8"?>
<p:tagLst xmlns:p="http://schemas.openxmlformats.org/presentationml/2006/main">
  <p:tag name="KSO_WM_DIAGRAM_VIRTUALLY_FRAME" val="{&quot;height&quot;:374.9944094488189,&quot;left&quot;:52,&quot;top&quot;:108.0055905511811,&quot;width&quot;:855}"/>
</p:tagLst>
</file>

<file path=ppt/tags/tag105.xml><?xml version="1.0" encoding="utf-8"?>
<p:tagLst xmlns:p="http://schemas.openxmlformats.org/presentationml/2006/main">
  <p:tag name="KSO_WM_DIAGRAM_VIRTUALLY_FRAME" val="{&quot;height&quot;:374.9944094488189,&quot;left&quot;:52,&quot;top&quot;:108.0055905511811,&quot;width&quot;:855}"/>
</p:tagLst>
</file>

<file path=ppt/tags/tag106.xml><?xml version="1.0" encoding="utf-8"?>
<p:tagLst xmlns:p="http://schemas.openxmlformats.org/presentationml/2006/main">
  <p:tag name="KSO_WM_DIAGRAM_VIRTUALLY_FRAME" val="{&quot;height&quot;:374.9944094488189,&quot;left&quot;:52,&quot;top&quot;:108.0055905511811,&quot;width&quot;:855}"/>
</p:tagLst>
</file>

<file path=ppt/tags/tag107.xml><?xml version="1.0" encoding="utf-8"?>
<p:tagLst xmlns:p="http://schemas.openxmlformats.org/presentationml/2006/main">
  <p:tag name="KSO_WM_DIAGRAM_VIRTUALLY_FRAME" val="{&quot;height&quot;:374.9944094488189,&quot;left&quot;:52,&quot;top&quot;:108.0055905511811,&quot;width&quot;:855}"/>
</p:tagLst>
</file>

<file path=ppt/tags/tag108.xml><?xml version="1.0" encoding="utf-8"?>
<p:tagLst xmlns:p="http://schemas.openxmlformats.org/presentationml/2006/main">
  <p:tag name="KSO_WM_DIAGRAM_VIRTUALLY_FRAME" val="{&quot;height&quot;:374.9944094488189,&quot;left&quot;:52,&quot;top&quot;:108.0055905511811,&quot;width&quot;:855}"/>
</p:tagLst>
</file>

<file path=ppt/tags/tag109.xml><?xml version="1.0" encoding="utf-8"?>
<p:tagLst xmlns:p="http://schemas.openxmlformats.org/presentationml/2006/main">
  <p:tag name="KSO_WM_DIAGRAM_VIRTUALLY_FRAME" val="{&quot;height&quot;:374.9944094488189,&quot;left&quot;:52,&quot;top&quot;:108.0055905511811,&quot;width&quot;:855}"/>
</p:tagLst>
</file>

<file path=ppt/tags/tag11.xml><?xml version="1.0" encoding="utf-8"?>
<p:tagLst xmlns:p="http://schemas.openxmlformats.org/presentationml/2006/main">
  <p:tag name="KSO_WM_DIAGRAM_VIRTUALLY_FRAME" val="{&quot;height&quot;:387.21645669291337,&quot;left&quot;:52,&quot;top&quot;:90.43708661417323,&quot;width&quot;:855}"/>
</p:tagLst>
</file>

<file path=ppt/tags/tag110.xml><?xml version="1.0" encoding="utf-8"?>
<p:tagLst xmlns:p="http://schemas.openxmlformats.org/presentationml/2006/main">
  <p:tag name="KSO_WM_DIAGRAM_VIRTUALLY_FRAME" val="{&quot;height&quot;:374.9944094488189,&quot;left&quot;:52,&quot;top&quot;:108.0055905511811,&quot;width&quot;:855}"/>
</p:tagLst>
</file>

<file path=ppt/tags/tag111.xml><?xml version="1.0" encoding="utf-8"?>
<p:tagLst xmlns:p="http://schemas.openxmlformats.org/presentationml/2006/main">
  <p:tag name="KSO_WM_DIAGRAM_VIRTUALLY_FRAME" val="{&quot;height&quot;:374.9944094488189,&quot;left&quot;:52,&quot;top&quot;:108.0055905511811,&quot;width&quot;:855}"/>
</p:tagLst>
</file>

<file path=ppt/tags/tag112.xml><?xml version="1.0" encoding="utf-8"?>
<p:tagLst xmlns:p="http://schemas.openxmlformats.org/presentationml/2006/main">
  <p:tag name="KSO_WM_DIAGRAM_VIRTUALLY_FRAME" val="{&quot;height&quot;:374.9944094488189,&quot;left&quot;:52,&quot;top&quot;:108.0055905511811,&quot;width&quot;:855}"/>
</p:tagLst>
</file>

<file path=ppt/tags/tag113.xml><?xml version="1.0" encoding="utf-8"?>
<p:tagLst xmlns:p="http://schemas.openxmlformats.org/presentationml/2006/main">
  <p:tag name="KSO_WM_DIAGRAM_VIRTUALLY_FRAME" val="{&quot;height&quot;:374.9944094488189,&quot;left&quot;:52,&quot;top&quot;:108.0055905511811,&quot;width&quot;:855}"/>
</p:tagLst>
</file>

<file path=ppt/tags/tag114.xml><?xml version="1.0" encoding="utf-8"?>
<p:tagLst xmlns:p="http://schemas.openxmlformats.org/presentationml/2006/main">
  <p:tag name="KSO_WM_DIAGRAM_VIRTUALLY_FRAME" val="{&quot;height&quot;:374.9944094488189,&quot;left&quot;:52,&quot;top&quot;:108.0055905511811,&quot;width&quot;:855}"/>
</p:tagLst>
</file>

<file path=ppt/tags/tag115.xml><?xml version="1.0" encoding="utf-8"?>
<p:tagLst xmlns:p="http://schemas.openxmlformats.org/presentationml/2006/main">
  <p:tag name="KSO_WM_DIAGRAM_VIRTUALLY_FRAME" val="{&quot;height&quot;:374.9944094488189,&quot;left&quot;:52,&quot;top&quot;:108.0055905511811,&quot;width&quot;:855}"/>
</p:tagLst>
</file>

<file path=ppt/tags/tag116.xml><?xml version="1.0" encoding="utf-8"?>
<p:tagLst xmlns:p="http://schemas.openxmlformats.org/presentationml/2006/main">
  <p:tag name="KSO_WM_DIAGRAM_VIRTUALLY_FRAME" val="{&quot;height&quot;:374.9944094488189,&quot;left&quot;:52,&quot;top&quot;:108.0055905511811,&quot;width&quot;:855}"/>
</p:tagLst>
</file>

<file path=ppt/tags/tag117.xml><?xml version="1.0" encoding="utf-8"?>
<p:tagLst xmlns:p="http://schemas.openxmlformats.org/presentationml/2006/main">
  <p:tag name="KSO_WM_DIAGRAM_VIRTUALLY_FRAME" val="{&quot;height&quot;:374.9944094488189,&quot;left&quot;:52,&quot;top&quot;:108.0055905511811,&quot;width&quot;:855}"/>
</p:tagLst>
</file>

<file path=ppt/tags/tag118.xml><?xml version="1.0" encoding="utf-8"?>
<p:tagLst xmlns:p="http://schemas.openxmlformats.org/presentationml/2006/main">
  <p:tag name="KSO_WM_DIAGRAM_VIRTUALLY_FRAME" val="{&quot;height&quot;:374.9944094488189,&quot;left&quot;:52,&quot;top&quot;:108.0055905511811,&quot;width&quot;:855}"/>
</p:tagLst>
</file>

<file path=ppt/tags/tag119.xml><?xml version="1.0" encoding="utf-8"?>
<p:tagLst xmlns:p="http://schemas.openxmlformats.org/presentationml/2006/main">
  <p:tag name="KSO_WM_DIAGRAM_VIRTUALLY_FRAME" val="{&quot;height&quot;:374.9944094488189,&quot;left&quot;:52,&quot;top&quot;:108.0055905511811,&quot;width&quot;:855}"/>
</p:tagLst>
</file>

<file path=ppt/tags/tag12.xml><?xml version="1.0" encoding="utf-8"?>
<p:tagLst xmlns:p="http://schemas.openxmlformats.org/presentationml/2006/main">
  <p:tag name="KSO_WM_DIAGRAM_VIRTUALLY_FRAME" val="{&quot;height&quot;:387.21645669291337,&quot;left&quot;:52,&quot;top&quot;:90.43708661417323,&quot;width&quot;:855}"/>
</p:tagLst>
</file>

<file path=ppt/tags/tag120.xml><?xml version="1.0" encoding="utf-8"?>
<p:tagLst xmlns:p="http://schemas.openxmlformats.org/presentationml/2006/main">
  <p:tag name="KSO_WM_DIAGRAM_VIRTUALLY_FRAME" val="{&quot;height&quot;:362,&quot;left&quot;:62.5,&quot;top&quot;:89,&quot;width&quot;:834.9999212598425}"/>
</p:tagLst>
</file>

<file path=ppt/tags/tag121.xml><?xml version="1.0" encoding="utf-8"?>
<p:tagLst xmlns:p="http://schemas.openxmlformats.org/presentationml/2006/main">
  <p:tag name="KSO_WM_DIAGRAM_VIRTUALLY_FRAME" val="{&quot;height&quot;:362,&quot;left&quot;:62.5,&quot;top&quot;:89,&quot;width&quot;:834.9999212598425}"/>
</p:tagLst>
</file>

<file path=ppt/tags/tag122.xml><?xml version="1.0" encoding="utf-8"?>
<p:tagLst xmlns:p="http://schemas.openxmlformats.org/presentationml/2006/main">
  <p:tag name="KSO_WM_DIAGRAM_VIRTUALLY_FRAME" val="{&quot;height&quot;:362,&quot;left&quot;:62.5,&quot;top&quot;:89,&quot;width&quot;:834.9999212598425}"/>
</p:tagLst>
</file>

<file path=ppt/tags/tag123.xml><?xml version="1.0" encoding="utf-8"?>
<p:tagLst xmlns:p="http://schemas.openxmlformats.org/presentationml/2006/main">
  <p:tag name="KSO_WM_DIAGRAM_VIRTUALLY_FRAME" val="{&quot;height&quot;:362,&quot;left&quot;:62.5,&quot;top&quot;:89,&quot;width&quot;:834.9999212598425}"/>
</p:tagLst>
</file>

<file path=ppt/tags/tag124.xml><?xml version="1.0" encoding="utf-8"?>
<p:tagLst xmlns:p="http://schemas.openxmlformats.org/presentationml/2006/main">
  <p:tag name="KSO_WM_DIAGRAM_VIRTUALLY_FRAME" val="{&quot;height&quot;:362,&quot;left&quot;:62.5,&quot;top&quot;:89,&quot;width&quot;:834.9999212598425}"/>
</p:tagLst>
</file>

<file path=ppt/tags/tag125.xml><?xml version="1.0" encoding="utf-8"?>
<p:tagLst xmlns:p="http://schemas.openxmlformats.org/presentationml/2006/main">
  <p:tag name="KSO_WM_DIAGRAM_VIRTUALLY_FRAME" val="{&quot;height&quot;:362,&quot;left&quot;:62.5,&quot;top&quot;:89,&quot;width&quot;:834.9999212598425}"/>
</p:tagLst>
</file>

<file path=ppt/tags/tag126.xml><?xml version="1.0" encoding="utf-8"?>
<p:tagLst xmlns:p="http://schemas.openxmlformats.org/presentationml/2006/main">
  <p:tag name="KSO_WM_DIAGRAM_VIRTUALLY_FRAME" val="{&quot;height&quot;:362,&quot;left&quot;:62.5,&quot;top&quot;:89,&quot;width&quot;:834.9999212598425}"/>
</p:tagLst>
</file>

<file path=ppt/tags/tag127.xml><?xml version="1.0" encoding="utf-8"?>
<p:tagLst xmlns:p="http://schemas.openxmlformats.org/presentationml/2006/main">
  <p:tag name="KSO_WM_DIAGRAM_VIRTUALLY_FRAME" val="{&quot;height&quot;:362,&quot;left&quot;:62.5,&quot;top&quot;:89,&quot;width&quot;:834.9999212598425}"/>
</p:tagLst>
</file>

<file path=ppt/tags/tag128.xml><?xml version="1.0" encoding="utf-8"?>
<p:tagLst xmlns:p="http://schemas.openxmlformats.org/presentationml/2006/main">
  <p:tag name="KSO_WM_DIAGRAM_VIRTUALLY_FRAME" val="{&quot;height&quot;:362,&quot;left&quot;:62.5,&quot;top&quot;:89,&quot;width&quot;:834.9999212598425}"/>
</p:tagLst>
</file>

<file path=ppt/tags/tag129.xml><?xml version="1.0" encoding="utf-8"?>
<p:tagLst xmlns:p="http://schemas.openxmlformats.org/presentationml/2006/main">
  <p:tag name="KSO_WM_DIAGRAM_VIRTUALLY_FRAME" val="{&quot;height&quot;:362,&quot;left&quot;:62.5,&quot;top&quot;:89,&quot;width&quot;:834.9999212598425}"/>
</p:tagLst>
</file>

<file path=ppt/tags/tag13.xml><?xml version="1.0" encoding="utf-8"?>
<p:tagLst xmlns:p="http://schemas.openxmlformats.org/presentationml/2006/main">
  <p:tag name="KSO_WM_DIAGRAM_VIRTUALLY_FRAME" val="{&quot;height&quot;:387.21645669291337,&quot;left&quot;:52,&quot;top&quot;:90.43708661417323,&quot;width&quot;:855}"/>
</p:tagLst>
</file>

<file path=ppt/tags/tag130.xml><?xml version="1.0" encoding="utf-8"?>
<p:tagLst xmlns:p="http://schemas.openxmlformats.org/presentationml/2006/main">
  <p:tag name="KSO_WM_DIAGRAM_VIRTUALLY_FRAME" val="{&quot;height&quot;:346.825748031496,&quot;left&quot;:52,&quot;top&quot;:89,&quot;width&quot;:856}"/>
</p:tagLst>
</file>

<file path=ppt/tags/tag131.xml><?xml version="1.0" encoding="utf-8"?>
<p:tagLst xmlns:p="http://schemas.openxmlformats.org/presentationml/2006/main">
  <p:tag name="KSO_WM_DIAGRAM_VIRTUALLY_FRAME" val="{&quot;height&quot;:346.825748031496,&quot;left&quot;:52,&quot;top&quot;:89,&quot;width&quot;:856}"/>
</p:tagLst>
</file>

<file path=ppt/tags/tag132.xml><?xml version="1.0" encoding="utf-8"?>
<p:tagLst xmlns:p="http://schemas.openxmlformats.org/presentationml/2006/main">
  <p:tag name="KSO_WM_DIAGRAM_VIRTUALLY_FRAME" val="{&quot;height&quot;:346.825748031496,&quot;left&quot;:52,&quot;top&quot;:89,&quot;width&quot;:856}"/>
</p:tagLst>
</file>

<file path=ppt/tags/tag133.xml><?xml version="1.0" encoding="utf-8"?>
<p:tagLst xmlns:p="http://schemas.openxmlformats.org/presentationml/2006/main">
  <p:tag name="KSO_WM_DIAGRAM_VIRTUALLY_FRAME" val="{&quot;height&quot;:346.825748031496,&quot;left&quot;:52,&quot;top&quot;:89,&quot;width&quot;:856}"/>
</p:tagLst>
</file>

<file path=ppt/tags/tag134.xml><?xml version="1.0" encoding="utf-8"?>
<p:tagLst xmlns:p="http://schemas.openxmlformats.org/presentationml/2006/main">
  <p:tag name="KSO_WM_DIAGRAM_VIRTUALLY_FRAME" val="{&quot;height&quot;:346.825748031496,&quot;left&quot;:52,&quot;top&quot;:89,&quot;width&quot;:856}"/>
</p:tagLst>
</file>

<file path=ppt/tags/tag135.xml><?xml version="1.0" encoding="utf-8"?>
<p:tagLst xmlns:p="http://schemas.openxmlformats.org/presentationml/2006/main">
  <p:tag name="KSO_WM_DIAGRAM_VIRTUALLY_FRAME" val="{&quot;height&quot;:346.825748031496,&quot;left&quot;:52,&quot;top&quot;:89,&quot;width&quot;:856}"/>
</p:tagLst>
</file>

<file path=ppt/tags/tag136.xml><?xml version="1.0" encoding="utf-8"?>
<p:tagLst xmlns:p="http://schemas.openxmlformats.org/presentationml/2006/main">
  <p:tag name="KSO_WM_DIAGRAM_VIRTUALLY_FRAME" val="{&quot;height&quot;:346.825748031496,&quot;left&quot;:52,&quot;top&quot;:89,&quot;width&quot;:856}"/>
</p:tagLst>
</file>

<file path=ppt/tags/tag137.xml><?xml version="1.0" encoding="utf-8"?>
<p:tagLst xmlns:p="http://schemas.openxmlformats.org/presentationml/2006/main">
  <p:tag name="KSO_WM_DIAGRAM_VIRTUALLY_FRAME" val="{&quot;height&quot;:346.825748031496,&quot;left&quot;:52,&quot;top&quot;:89,&quot;width&quot;:856}"/>
</p:tagLst>
</file>

<file path=ppt/tags/tag138.xml><?xml version="1.0" encoding="utf-8"?>
<p:tagLst xmlns:p="http://schemas.openxmlformats.org/presentationml/2006/main">
  <p:tag name="KSO_WM_DIAGRAM_VIRTUALLY_FRAME" val="{&quot;height&quot;:346.825748031496,&quot;left&quot;:52,&quot;top&quot;:89,&quot;width&quot;:856}"/>
</p:tagLst>
</file>

<file path=ppt/tags/tag139.xml><?xml version="1.0" encoding="utf-8"?>
<p:tagLst xmlns:p="http://schemas.openxmlformats.org/presentationml/2006/main">
  <p:tag name="KSO_WM_DIAGRAM_VIRTUALLY_FRAME" val="{&quot;height&quot;:346.825748031496,&quot;left&quot;:52,&quot;top&quot;:89,&quot;width&quot;:856}"/>
</p:tagLst>
</file>

<file path=ppt/tags/tag14.xml><?xml version="1.0" encoding="utf-8"?>
<p:tagLst xmlns:p="http://schemas.openxmlformats.org/presentationml/2006/main">
  <p:tag name="KSO_WM_DIAGRAM_VIRTUALLY_FRAME" val="{&quot;height&quot;:387.21645669291337,&quot;left&quot;:52,&quot;top&quot;:90.43708661417323,&quot;width&quot;:855}"/>
</p:tagLst>
</file>

<file path=ppt/tags/tag140.xml><?xml version="1.0" encoding="utf-8"?>
<p:tagLst xmlns:p="http://schemas.openxmlformats.org/presentationml/2006/main">
  <p:tag name="KSO_WM_DIAGRAM_VIRTUALLY_FRAME" val="{&quot;height&quot;:346.825748031496,&quot;left&quot;:52,&quot;top&quot;:89,&quot;width&quot;:856}"/>
</p:tagLst>
</file>

<file path=ppt/tags/tag141.xml><?xml version="1.0" encoding="utf-8"?>
<p:tagLst xmlns:p="http://schemas.openxmlformats.org/presentationml/2006/main">
  <p:tag name="KSO_WM_DIAGRAM_VIRTUALLY_FRAME" val="{&quot;height&quot;:346.825748031496,&quot;left&quot;:52,&quot;top&quot;:89,&quot;width&quot;:856}"/>
</p:tagLst>
</file>

<file path=ppt/tags/tag142.xml><?xml version="1.0" encoding="utf-8"?>
<p:tagLst xmlns:p="http://schemas.openxmlformats.org/presentationml/2006/main">
  <p:tag name="KSO_WM_DIAGRAM_VIRTUALLY_FRAME" val="{&quot;height&quot;:346.825748031496,&quot;left&quot;:52,&quot;top&quot;:89,&quot;width&quot;:856}"/>
</p:tagLst>
</file>

<file path=ppt/tags/tag143.xml><?xml version="1.0" encoding="utf-8"?>
<p:tagLst xmlns:p="http://schemas.openxmlformats.org/presentationml/2006/main">
  <p:tag name="KSO_WM_DIAGRAM_VIRTUALLY_FRAME" val="{&quot;height&quot;:346.825748031496,&quot;left&quot;:52,&quot;top&quot;:89,&quot;width&quot;:856}"/>
</p:tagLst>
</file>

<file path=ppt/tags/tag144.xml><?xml version="1.0" encoding="utf-8"?>
<p:tagLst xmlns:p="http://schemas.openxmlformats.org/presentationml/2006/main">
  <p:tag name="KSO_WM_DIAGRAM_VIRTUALLY_FRAME" val="{&quot;height&quot;:346.825748031496,&quot;left&quot;:52,&quot;top&quot;:89,&quot;width&quot;:856}"/>
</p:tagLst>
</file>

<file path=ppt/tags/tag145.xml><?xml version="1.0" encoding="utf-8"?>
<p:tagLst xmlns:p="http://schemas.openxmlformats.org/presentationml/2006/main">
  <p:tag name="KSO_WM_DIAGRAM_VIRTUALLY_FRAME" val="{&quot;height&quot;:346.825748031496,&quot;left&quot;:52,&quot;top&quot;:89,&quot;width&quot;:856}"/>
</p:tagLst>
</file>

<file path=ppt/tags/tag146.xml><?xml version="1.0" encoding="utf-8"?>
<p:tagLst xmlns:p="http://schemas.openxmlformats.org/presentationml/2006/main">
  <p:tag name="KSO_WM_DIAGRAM_VIRTUALLY_FRAME" val="{&quot;height&quot;:346.825748031496,&quot;left&quot;:52,&quot;top&quot;:89,&quot;width&quot;:856}"/>
</p:tagLst>
</file>

<file path=ppt/tags/tag147.xml><?xml version="1.0" encoding="utf-8"?>
<p:tagLst xmlns:p="http://schemas.openxmlformats.org/presentationml/2006/main">
  <p:tag name="KSO_WM_DIAGRAM_VIRTUALLY_FRAME" val="{&quot;height&quot;:346.825748031496,&quot;left&quot;:52,&quot;top&quot;:89,&quot;width&quot;:856}"/>
</p:tagLst>
</file>

<file path=ppt/tags/tag148.xml><?xml version="1.0" encoding="utf-8"?>
<p:tagLst xmlns:p="http://schemas.openxmlformats.org/presentationml/2006/main">
  <p:tag name="KSO_WM_DIAGRAM_VIRTUALLY_FRAME" val="{&quot;height&quot;:346.825748031496,&quot;left&quot;:52,&quot;top&quot;:89,&quot;width&quot;:856}"/>
</p:tagLst>
</file>

<file path=ppt/tags/tag149.xml><?xml version="1.0" encoding="utf-8"?>
<p:tagLst xmlns:p="http://schemas.openxmlformats.org/presentationml/2006/main">
  <p:tag name="KSO_WM_DIAGRAM_VIRTUALLY_FRAME" val="{&quot;height&quot;:346.825748031496,&quot;left&quot;:52,&quot;top&quot;:89,&quot;width&quot;:856}"/>
</p:tagLst>
</file>

<file path=ppt/tags/tag15.xml><?xml version="1.0" encoding="utf-8"?>
<p:tagLst xmlns:p="http://schemas.openxmlformats.org/presentationml/2006/main">
  <p:tag name="KSO_WM_DIAGRAM_VIRTUALLY_FRAME" val="{&quot;height&quot;:387.21645669291337,&quot;left&quot;:52,&quot;top&quot;:90.43708661417323,&quot;width&quot;:855}"/>
</p:tagLst>
</file>

<file path=ppt/tags/tag150.xml><?xml version="1.0" encoding="utf-8"?>
<p:tagLst xmlns:p="http://schemas.openxmlformats.org/presentationml/2006/main">
  <p:tag name="KSO_WM_DIAGRAM_VIRTUALLY_FRAME" val="{&quot;height&quot;:346.825748031496,&quot;left&quot;:52,&quot;top&quot;:89,&quot;width&quot;:856}"/>
</p:tagLst>
</file>

<file path=ppt/tags/tag151.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52.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53.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54.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55.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56.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57.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58.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59.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xml><?xml version="1.0" encoding="utf-8"?>
<p:tagLst xmlns:p="http://schemas.openxmlformats.org/presentationml/2006/main">
  <p:tag name="KSO_WM_DIAGRAM_VIRTUALLY_FRAME" val="{&quot;height&quot;:387.21645669291337,&quot;left&quot;:52,&quot;top&quot;:90.43708661417323,&quot;width&quot;:855}"/>
</p:tagLst>
</file>

<file path=ppt/tags/tag160.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1.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2.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3.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4.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5.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6.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7.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8.xml><?xml version="1.0" encoding="utf-8"?>
<p:tagLst xmlns:p="http://schemas.openxmlformats.org/presentationml/2006/main">
  <p:tag name="KSO_WM_DIAGRAM_VIRTUALLY_FRAME" val="{&quot;height&quot;:330.30629921259845,&quot;left&quot;:461.21425196850396,&quot;top&quot;:150.79858267716537,&quot;width&quot;:391.92629921259834}"/>
</p:tagLst>
</file>

<file path=ppt/tags/tag169.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xml><?xml version="1.0" encoding="utf-8"?>
<p:tagLst xmlns:p="http://schemas.openxmlformats.org/presentationml/2006/main">
  <p:tag name="KSO_WM_DIAGRAM_VIRTUALLY_FRAME" val="{&quot;height&quot;:387.21645669291337,&quot;left&quot;:52,&quot;top&quot;:90.43708661417323,&quot;width&quot;:855}"/>
</p:tagLst>
</file>

<file path=ppt/tags/tag170.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1.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2.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3.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4.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5.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6.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7.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8.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79.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8.xml><?xml version="1.0" encoding="utf-8"?>
<p:tagLst xmlns:p="http://schemas.openxmlformats.org/presentationml/2006/main">
  <p:tag name="KSO_WM_DIAGRAM_VIRTUALLY_FRAME" val="{&quot;height&quot;:387.21645669291337,&quot;left&quot;:52,&quot;top&quot;:90.43708661417323,&quot;width&quot;:855}"/>
</p:tagLst>
</file>

<file path=ppt/tags/tag180.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81.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82.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83.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84.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85.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86.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87.xml><?xml version="1.0" encoding="utf-8"?>
<p:tagLst xmlns:p="http://schemas.openxmlformats.org/presentationml/2006/main">
  <p:tag name="KSO_WM_DIAGRAM_VIRTUALLY_FRAME" val="{&quot;height&quot;:365.0660629921259,&quot;left&quot;:43.46062992125984,&quot;top&quot;:103.98653543307087,&quot;width&quot;:873.4722834645669}"/>
</p:tagLst>
</file>

<file path=ppt/tags/tag188.xml><?xml version="1.0" encoding="utf-8"?>
<p:tagLst xmlns:p="http://schemas.openxmlformats.org/presentationml/2006/main">
  <p:tag name="ISLIDE.TEMPLATE" val="https://www.islide.cc;"/>
</p:tagLst>
</file>

<file path=ppt/tags/tag189.xml><?xml version="1.0" encoding="utf-8"?>
<p:tagLst xmlns:p="http://schemas.openxmlformats.org/presentationml/2006/main">
  <p:tag name="ISLIDE.GUIDESSETTING" val="{&quot;Id&quot;:&quot;GuidesStyle_Normal&quot;,&quot;Name&quot;:&quot;GuidesStyle_Normal&quot;,&quot;Kind&quot;:0,&quot;OldGuidesSetting&quot;:{&quot;HeaderHeight&quot;:15.0,&quot;FooterHeight&quot;:9.0,&quot;SideMargin&quot;:5.5,&quot;TopMargin&quot;:0.0,&quot;BottomMargin&quot;:0.0,&quot;IntervalMargin&quot;:1.5}}"/>
  <p:tag name="commondata" val="eyJoZGlkIjoiOTMzZDUwY2I4MTFkZWMwNDU1MGE4ODM3NjA0M2VjNWUifQ=="/>
</p:tagLst>
</file>

<file path=ppt/tags/tag19.xml><?xml version="1.0" encoding="utf-8"?>
<p:tagLst xmlns:p="http://schemas.openxmlformats.org/presentationml/2006/main">
  <p:tag name="KSO_WM_DIAGRAM_VIRTUALLY_FRAME" val="{&quot;height&quot;:387.21645669291337,&quot;left&quot;:52,&quot;top&quot;:90.43708661417323,&quot;width&quot;:855}"/>
</p:tagLst>
</file>

<file path=ppt/tags/tag2.xml><?xml version="1.0" encoding="utf-8"?>
<p:tagLst xmlns:p="http://schemas.openxmlformats.org/presentationml/2006/main">
  <p:tag name="KSO_WM_DIAGRAM_VIRTUALLY_FRAME" val="{&quot;height&quot;:213.48393700787406,&quot;left&quot;:447.64511811023624,&quot;top&quot;:243.89007874015746,&quot;width&quot;:460.35488188976376}"/>
</p:tagLst>
</file>

<file path=ppt/tags/tag20.xml><?xml version="1.0" encoding="utf-8"?>
<p:tagLst xmlns:p="http://schemas.openxmlformats.org/presentationml/2006/main">
  <p:tag name="KSO_WM_DIAGRAM_VIRTUALLY_FRAME" val="{&quot;height&quot;:387.21645669291337,&quot;left&quot;:52,&quot;top&quot;:90.43708661417323,&quot;width&quot;:855}"/>
</p:tagLst>
</file>

<file path=ppt/tags/tag21.xml><?xml version="1.0" encoding="utf-8"?>
<p:tagLst xmlns:p="http://schemas.openxmlformats.org/presentationml/2006/main">
  <p:tag name="KSO_WM_DIAGRAM_VIRTUALLY_FRAME" val="{&quot;height&quot;:387.21645669291337,&quot;left&quot;:52,&quot;top&quot;:90.43708661417323,&quot;width&quot;:855}"/>
</p:tagLst>
</file>

<file path=ppt/tags/tag22.xml><?xml version="1.0" encoding="utf-8"?>
<p:tagLst xmlns:p="http://schemas.openxmlformats.org/presentationml/2006/main">
  <p:tag name="KSO_WM_DIAGRAM_VIRTUALLY_FRAME" val="{&quot;height&quot;:387.21645669291337,&quot;left&quot;:52,&quot;top&quot;:90.43708661417323,&quot;width&quot;:855}"/>
</p:tagLst>
</file>

<file path=ppt/tags/tag23.xml><?xml version="1.0" encoding="utf-8"?>
<p:tagLst xmlns:p="http://schemas.openxmlformats.org/presentationml/2006/main">
  <p:tag name="KSO_WM_DIAGRAM_VIRTUALLY_FRAME" val="{&quot;height&quot;:387.21645669291337,&quot;left&quot;:52,&quot;top&quot;:90.43708661417323,&quot;width&quot;:855}"/>
</p:tagLst>
</file>

<file path=ppt/tags/tag24.xml><?xml version="1.0" encoding="utf-8"?>
<p:tagLst xmlns:p="http://schemas.openxmlformats.org/presentationml/2006/main">
  <p:tag name="KSO_WM_DIAGRAM_VIRTUALLY_FRAME" val="{&quot;height&quot;:387.21645669291337,&quot;left&quot;:52,&quot;top&quot;:90.43708661417323,&quot;width&quot;:855}"/>
</p:tagLst>
</file>

<file path=ppt/tags/tag25.xml><?xml version="1.0" encoding="utf-8"?>
<p:tagLst xmlns:p="http://schemas.openxmlformats.org/presentationml/2006/main">
  <p:tag name="KSO_WM_DIAGRAM_VIRTUALLY_FRAME" val="{&quot;height&quot;:387.21645669291337,&quot;left&quot;:52,&quot;top&quot;:90.43708661417323,&quot;width&quot;:855}"/>
</p:tagLst>
</file>

<file path=ppt/tags/tag26.xml><?xml version="1.0" encoding="utf-8"?>
<p:tagLst xmlns:p="http://schemas.openxmlformats.org/presentationml/2006/main">
  <p:tag name="KSO_WM_DIAGRAM_VIRTUALLY_FRAME" val="{&quot;height&quot;:387.21645669291337,&quot;left&quot;:52,&quot;top&quot;:90.43708661417323,&quot;width&quot;:855}"/>
</p:tagLst>
</file>

<file path=ppt/tags/tag27.xml><?xml version="1.0" encoding="utf-8"?>
<p:tagLst xmlns:p="http://schemas.openxmlformats.org/presentationml/2006/main">
  <p:tag name="KSO_WM_DIAGRAM_VIRTUALLY_FRAME" val="{&quot;height&quot;:387.21645669291337,&quot;left&quot;:52,&quot;top&quot;:90.43708661417323,&quot;width&quot;:855}"/>
</p:tagLst>
</file>

<file path=ppt/tags/tag28.xml><?xml version="1.0" encoding="utf-8"?>
<p:tagLst xmlns:p="http://schemas.openxmlformats.org/presentationml/2006/main">
  <p:tag name="KSO_WM_DIAGRAM_VIRTUALLY_FRAME" val="{&quot;height&quot;:387.21645669291337,&quot;left&quot;:52,&quot;top&quot;:90.43708661417323,&quot;width&quot;:855}"/>
</p:tagLst>
</file>

<file path=ppt/tags/tag29.xml><?xml version="1.0" encoding="utf-8"?>
<p:tagLst xmlns:p="http://schemas.openxmlformats.org/presentationml/2006/main">
  <p:tag name="KSO_WM_DIAGRAM_VIRTUALLY_FRAME" val="{&quot;height&quot;:387.21645669291337,&quot;left&quot;:52,&quot;top&quot;:90.43708661417323,&quot;width&quot;:855}"/>
</p:tagLst>
</file>

<file path=ppt/tags/tag3.xml><?xml version="1.0" encoding="utf-8"?>
<p:tagLst xmlns:p="http://schemas.openxmlformats.org/presentationml/2006/main">
  <p:tag name="KSO_WM_DIAGRAM_VIRTUALLY_FRAME" val="{&quot;height&quot;:213.48393700787406,&quot;left&quot;:447.64511811023624,&quot;top&quot;:243.89007874015746,&quot;width&quot;:460.35488188976376}"/>
</p:tagLst>
</file>

<file path=ppt/tags/tag30.xml><?xml version="1.0" encoding="utf-8"?>
<p:tagLst xmlns:p="http://schemas.openxmlformats.org/presentationml/2006/main">
  <p:tag name="KSO_WM_DIAGRAM_VIRTUALLY_FRAME" val="{&quot;height&quot;:387.21645669291337,&quot;left&quot;:52,&quot;top&quot;:90.43708661417323,&quot;width&quot;:855}"/>
</p:tagLst>
</file>

<file path=ppt/tags/tag31.xml><?xml version="1.0" encoding="utf-8"?>
<p:tagLst xmlns:p="http://schemas.openxmlformats.org/presentationml/2006/main">
  <p:tag name="KSO_WM_DIAGRAM_VIRTUALLY_FRAME" val="{&quot;height&quot;:387.21645669291337,&quot;left&quot;:52,&quot;top&quot;:90.43708661417323,&quot;width&quot;:855}"/>
</p:tagLst>
</file>

<file path=ppt/tags/tag32.xml><?xml version="1.0" encoding="utf-8"?>
<p:tagLst xmlns:p="http://schemas.openxmlformats.org/presentationml/2006/main">
  <p:tag name="KSO_WM_DIAGRAM_VIRTUALLY_FRAME" val="{&quot;height&quot;:352.53464566929136,&quot;left&quot;:52,&quot;top&quot;:109.73267716535433,&quot;width&quot;:855}"/>
</p:tagLst>
</file>

<file path=ppt/tags/tag33.xml><?xml version="1.0" encoding="utf-8"?>
<p:tagLst xmlns:p="http://schemas.openxmlformats.org/presentationml/2006/main">
  <p:tag name="KSO_WM_DIAGRAM_VIRTUALLY_FRAME" val="{&quot;height&quot;:352.53464566929136,&quot;left&quot;:52,&quot;top&quot;:109.73267716535433,&quot;width&quot;:855}"/>
</p:tagLst>
</file>

<file path=ppt/tags/tag34.xml><?xml version="1.0" encoding="utf-8"?>
<p:tagLst xmlns:p="http://schemas.openxmlformats.org/presentationml/2006/main">
  <p:tag name="KSO_WM_DIAGRAM_VIRTUALLY_FRAME" val="{&quot;height&quot;:352.53464566929136,&quot;left&quot;:52,&quot;top&quot;:109.73267716535433,&quot;width&quot;:855}"/>
</p:tagLst>
</file>

<file path=ppt/tags/tag35.xml><?xml version="1.0" encoding="utf-8"?>
<p:tagLst xmlns:p="http://schemas.openxmlformats.org/presentationml/2006/main">
  <p:tag name="KSO_WM_DIAGRAM_VIRTUALLY_FRAME" val="{&quot;height&quot;:352.53464566929136,&quot;left&quot;:52,&quot;top&quot;:109.73267716535433,&quot;width&quot;:855}"/>
</p:tagLst>
</file>

<file path=ppt/tags/tag36.xml><?xml version="1.0" encoding="utf-8"?>
<p:tagLst xmlns:p="http://schemas.openxmlformats.org/presentationml/2006/main">
  <p:tag name="KSO_WM_DIAGRAM_VIRTUALLY_FRAME" val="{&quot;height&quot;:352.53464566929136,&quot;left&quot;:52,&quot;top&quot;:109.73267716535433,&quot;width&quot;:855}"/>
</p:tagLst>
</file>

<file path=ppt/tags/tag37.xml><?xml version="1.0" encoding="utf-8"?>
<p:tagLst xmlns:p="http://schemas.openxmlformats.org/presentationml/2006/main">
  <p:tag name="KSO_WM_DIAGRAM_VIRTUALLY_FRAME" val="{&quot;height&quot;:352.53464566929136,&quot;left&quot;:52,&quot;top&quot;:109.73267716535433,&quot;width&quot;:855}"/>
</p:tagLst>
</file>

<file path=ppt/tags/tag38.xml><?xml version="1.0" encoding="utf-8"?>
<p:tagLst xmlns:p="http://schemas.openxmlformats.org/presentationml/2006/main">
  <p:tag name="KSO_WM_DIAGRAM_VIRTUALLY_FRAME" val="{&quot;height&quot;:352.53464566929136,&quot;left&quot;:52,&quot;top&quot;:109.73267716535433,&quot;width&quot;:855}"/>
</p:tagLst>
</file>

<file path=ppt/tags/tag39.xml><?xml version="1.0" encoding="utf-8"?>
<p:tagLst xmlns:p="http://schemas.openxmlformats.org/presentationml/2006/main">
  <p:tag name="KSO_WM_DIAGRAM_VIRTUALLY_FRAME" val="{&quot;height&quot;:352.53464566929136,&quot;left&quot;:52,&quot;top&quot;:109.73267716535433,&quot;width&quot;:855}"/>
</p:tagLst>
</file>

<file path=ppt/tags/tag4.xml><?xml version="1.0" encoding="utf-8"?>
<p:tagLst xmlns:p="http://schemas.openxmlformats.org/presentationml/2006/main">
  <p:tag name="KSO_WM_DIAGRAM_VIRTUALLY_FRAME" val="{&quot;height&quot;:213.48393700787406,&quot;left&quot;:447.64511811023624,&quot;top&quot;:243.89007874015746,&quot;width&quot;:460.35488188976376}"/>
</p:tagLst>
</file>

<file path=ppt/tags/tag40.xml><?xml version="1.0" encoding="utf-8"?>
<p:tagLst xmlns:p="http://schemas.openxmlformats.org/presentationml/2006/main">
  <p:tag name="KSO_WM_DIAGRAM_VIRTUALLY_FRAME" val="{&quot;height&quot;:352.53464566929136,&quot;left&quot;:52,&quot;top&quot;:109.73267716535433,&quot;width&quot;:855}"/>
</p:tagLst>
</file>

<file path=ppt/tags/tag41.xml><?xml version="1.0" encoding="utf-8"?>
<p:tagLst xmlns:p="http://schemas.openxmlformats.org/presentationml/2006/main">
  <p:tag name="KSO_WM_DIAGRAM_VIRTUALLY_FRAME" val="{&quot;height&quot;:352.53464566929136,&quot;left&quot;:52,&quot;top&quot;:109.73267716535433,&quot;width&quot;:855}"/>
</p:tagLst>
</file>

<file path=ppt/tags/tag42.xml><?xml version="1.0" encoding="utf-8"?>
<p:tagLst xmlns:p="http://schemas.openxmlformats.org/presentationml/2006/main">
  <p:tag name="KSO_WM_DIAGRAM_VIRTUALLY_FRAME" val="{&quot;height&quot;:352.53464566929136,&quot;left&quot;:52,&quot;top&quot;:109.73267716535433,&quot;width&quot;:855}"/>
</p:tagLst>
</file>

<file path=ppt/tags/tag43.xml><?xml version="1.0" encoding="utf-8"?>
<p:tagLst xmlns:p="http://schemas.openxmlformats.org/presentationml/2006/main">
  <p:tag name="KSO_WM_DIAGRAM_VIRTUALLY_FRAME" val="{&quot;height&quot;:352.53464566929136,&quot;left&quot;:52,&quot;top&quot;:109.73267716535433,&quot;width&quot;:855}"/>
</p:tagLst>
</file>

<file path=ppt/tags/tag44.xml><?xml version="1.0" encoding="utf-8"?>
<p:tagLst xmlns:p="http://schemas.openxmlformats.org/presentationml/2006/main">
  <p:tag name="KSO_WM_DIAGRAM_VIRTUALLY_FRAME" val="{&quot;height&quot;:352.53464566929136,&quot;left&quot;:52,&quot;top&quot;:109.73267716535433,&quot;width&quot;:855}"/>
</p:tagLst>
</file>

<file path=ppt/tags/tag45.xml><?xml version="1.0" encoding="utf-8"?>
<p:tagLst xmlns:p="http://schemas.openxmlformats.org/presentationml/2006/main">
  <p:tag name="KSO_WM_DIAGRAM_VIRTUALLY_FRAME" val="{&quot;height&quot;:352.53464566929136,&quot;left&quot;:52,&quot;top&quot;:109.73267716535433,&quot;width&quot;:855}"/>
</p:tagLst>
</file>

<file path=ppt/tags/tag46.xml><?xml version="1.0" encoding="utf-8"?>
<p:tagLst xmlns:p="http://schemas.openxmlformats.org/presentationml/2006/main">
  <p:tag name="KSO_WM_DIAGRAM_VIRTUALLY_FRAME" val="{&quot;height&quot;:352.53464566929136,&quot;left&quot;:52,&quot;top&quot;:109.73267716535433,&quot;width&quot;:855}"/>
</p:tagLst>
</file>

<file path=ppt/tags/tag47.xml><?xml version="1.0" encoding="utf-8"?>
<p:tagLst xmlns:p="http://schemas.openxmlformats.org/presentationml/2006/main">
  <p:tag name="KSO_WM_DIAGRAM_VIRTUALLY_FRAME" val="{&quot;height&quot;:352.53464566929136,&quot;left&quot;:52,&quot;top&quot;:109.73267716535433,&quot;width&quot;:855}"/>
</p:tagLst>
</file>

<file path=ppt/tags/tag48.xml><?xml version="1.0" encoding="utf-8"?>
<p:tagLst xmlns:p="http://schemas.openxmlformats.org/presentationml/2006/main">
  <p:tag name="KSO_WM_DIAGRAM_VIRTUALLY_FRAME" val="{&quot;height&quot;:352.53464566929136,&quot;left&quot;:52,&quot;top&quot;:109.73267716535433,&quot;width&quot;:855}"/>
</p:tagLst>
</file>

<file path=ppt/tags/tag49.xml><?xml version="1.0" encoding="utf-8"?>
<p:tagLst xmlns:p="http://schemas.openxmlformats.org/presentationml/2006/main">
  <p:tag name="KSO_WM_DIAGRAM_VIRTUALLY_FRAME" val="{&quot;height&quot;:352.53464566929136,&quot;left&quot;:52,&quot;top&quot;:109.73267716535433,&quot;width&quot;:855}"/>
</p:tagLst>
</file>

<file path=ppt/tags/tag5.xml><?xml version="1.0" encoding="utf-8"?>
<p:tagLst xmlns:p="http://schemas.openxmlformats.org/presentationml/2006/main">
  <p:tag name="KSO_WM_DIAGRAM_VIRTUALLY_FRAME" val="{&quot;height&quot;:213.48393700787406,&quot;left&quot;:447.64511811023624,&quot;top&quot;:243.89007874015746,&quot;width&quot;:460.35488188976376}"/>
</p:tagLst>
</file>

<file path=ppt/tags/tag50.xml><?xml version="1.0" encoding="utf-8"?>
<p:tagLst xmlns:p="http://schemas.openxmlformats.org/presentationml/2006/main">
  <p:tag name="KSO_WM_DIAGRAM_VIRTUALLY_FRAME" val="{&quot;height&quot;:352.53464566929136,&quot;left&quot;:52,&quot;top&quot;:109.73267716535433,&quot;width&quot;:855}"/>
</p:tagLst>
</file>

<file path=ppt/tags/tag51.xml><?xml version="1.0" encoding="utf-8"?>
<p:tagLst xmlns:p="http://schemas.openxmlformats.org/presentationml/2006/main">
  <p:tag name="KSO_WM_DIAGRAM_VIRTUALLY_FRAME" val="{&quot;height&quot;:352.53464566929136,&quot;left&quot;:52,&quot;top&quot;:109.73267716535433,&quot;width&quot;:855}"/>
</p:tagLst>
</file>

<file path=ppt/tags/tag52.xml><?xml version="1.0" encoding="utf-8"?>
<p:tagLst xmlns:p="http://schemas.openxmlformats.org/presentationml/2006/main">
  <p:tag name="KSO_WM_DIAGRAM_VIRTUALLY_FRAME" val="{&quot;height&quot;:352.53464566929136,&quot;left&quot;:52,&quot;top&quot;:109.73267716535433,&quot;width&quot;:855}"/>
</p:tagLst>
</file>

<file path=ppt/tags/tag53.xml><?xml version="1.0" encoding="utf-8"?>
<p:tagLst xmlns:p="http://schemas.openxmlformats.org/presentationml/2006/main">
  <p:tag name="KSO_WM_DIAGRAM_VIRTUALLY_FRAME" val="{&quot;height&quot;:352.53464566929136,&quot;left&quot;:52,&quot;top&quot;:109.73267716535433,&quot;width&quot;:855}"/>
</p:tagLst>
</file>

<file path=ppt/tags/tag54.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55.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56.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57.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58.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59.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xml><?xml version="1.0" encoding="utf-8"?>
<p:tagLst xmlns:p="http://schemas.openxmlformats.org/presentationml/2006/main">
  <p:tag name="KSO_WM_DIAGRAM_VIRTUALLY_FRAME" val="{&quot;height&quot;:213.48393700787406,&quot;left&quot;:447.64511811023624,&quot;top&quot;:243.89007874015746,&quot;width&quot;:460.35488188976376}"/>
</p:tagLst>
</file>

<file path=ppt/tags/tag60.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1.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2.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3.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4.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5.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6.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7.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8.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69.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xml><?xml version="1.0" encoding="utf-8"?>
<p:tagLst xmlns:p="http://schemas.openxmlformats.org/presentationml/2006/main">
  <p:tag name="KSO_WM_DIAGRAM_VIRTUALLY_FRAME" val="{&quot;height&quot;:213.48393700787406,&quot;left&quot;:447.64511811023624,&quot;top&quot;:243.89007874015746,&quot;width&quot;:460.35488188976376}"/>
</p:tagLst>
</file>

<file path=ppt/tags/tag70.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1.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2.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3.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4.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5.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6.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7.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8.xml><?xml version="1.0" encoding="utf-8"?>
<p:tagLst xmlns:p="http://schemas.openxmlformats.org/presentationml/2006/main">
  <p:tag name="KSO_WM_DIAGRAM_VIRTUALLY_FRAME" val="{&quot;height&quot;:359.25000000000006,&quot;left&quot;:51.937480314960624,&quot;top&quot;:106.37503937007872,&quot;width&quot;:855.1250393700788}"/>
</p:tagLst>
</file>

<file path=ppt/tags/tag79.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xml><?xml version="1.0" encoding="utf-8"?>
<p:tagLst xmlns:p="http://schemas.openxmlformats.org/presentationml/2006/main">
  <p:tag name="KSO_WM_DIAGRAM_VIRTUALLY_FRAME" val="{&quot;height&quot;:213.48393700787406,&quot;left&quot;:447.64511811023624,&quot;top&quot;:243.89007874015746,&quot;width&quot;:460.35488188976376}"/>
</p:tagLst>
</file>

<file path=ppt/tags/tag80.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1.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2.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3.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4.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5.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6.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7.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8.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89.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xml><?xml version="1.0" encoding="utf-8"?>
<p:tagLst xmlns:p="http://schemas.openxmlformats.org/presentationml/2006/main">
  <p:tag name="KSO_WM_DIAGRAM_VIRTUALLY_FRAME" val="{&quot;height&quot;:213.48393700787406,&quot;left&quot;:447.64511811023624,&quot;top&quot;:243.89007874015746,&quot;width&quot;:460.35488188976376}"/>
</p:tagLst>
</file>

<file path=ppt/tags/tag90.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1.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2.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3.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4.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5.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6.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7.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8.xml><?xml version="1.0" encoding="utf-8"?>
<p:tagLst xmlns:p="http://schemas.openxmlformats.org/presentationml/2006/main">
  <p:tag name="KSO_WM_DIAGRAM_VIRTUALLY_FRAME" val="{&quot;height&quot;:325.6714173228348,&quot;left&quot;:475.4379527559055,&quot;top&quot;:129.6864566929134,&quot;width&quot;:431.5620472440945}"/>
</p:tagLst>
</file>

<file path=ppt/tags/tag99.xml><?xml version="1.0" encoding="utf-8"?>
<p:tagLst xmlns:p="http://schemas.openxmlformats.org/presentationml/2006/main">
  <p:tag name="KSO_WM_DIAGRAM_VIRTUALLY_FRAME" val="{&quot;height&quot;:374.9944094488189,&quot;left&quot;:52,&quot;top&quot;:108.0055905511811,&quot;width&quot;:855}"/>
</p:tagLst>
</file>

<file path=ppt/theme/theme1.xml><?xml version="1.0" encoding="utf-8"?>
<a:theme xmlns:a="http://schemas.openxmlformats.org/drawingml/2006/main" name="Designed by iSlide">
  <a:themeElements>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fontScheme name="iSlide">
      <a:majorFont>
        <a:latin typeface="Arial"/>
        <a:ea typeface="微软雅黑"/>
        <a:cs typeface=""/>
      </a:majorFont>
      <a:minorFont>
        <a:latin typeface="Arial"/>
        <a:ea typeface="微软雅黑"/>
        <a:cs typeface=""/>
      </a:minorFont>
    </a:fontScheme>
    <a:fmtScheme name="iSlid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10.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11.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12.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13.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14.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2.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3.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4.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5.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6.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7.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8.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ppt/theme/themeOverride9.xml><?xml version="1.0" encoding="utf-8"?>
<a:themeOverride xmlns:a="http://schemas.openxmlformats.org/drawingml/2006/main">
  <a:clrScheme name="iSlide">
    <a:dk1>
      <a:srgbClr val="000000"/>
    </a:dk1>
    <a:lt1>
      <a:srgbClr val="FFFFFF"/>
    </a:lt1>
    <a:dk2>
      <a:srgbClr val="778495"/>
    </a:dk2>
    <a:lt2>
      <a:srgbClr val="F0F0F0"/>
    </a:lt2>
    <a:accent1>
      <a:srgbClr val="0085C3"/>
    </a:accent1>
    <a:accent2>
      <a:srgbClr val="7AB800"/>
    </a:accent2>
    <a:accent3>
      <a:srgbClr val="F2AF00"/>
    </a:accent3>
    <a:accent4>
      <a:srgbClr val="DC5034"/>
    </a:accent4>
    <a:accent5>
      <a:srgbClr val="CE1126"/>
    </a:accent5>
    <a:accent6>
      <a:srgbClr val="B7295A"/>
    </a:accent6>
    <a:hlink>
      <a:srgbClr val="0085C3"/>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0</TotalTime>
  <Words>1842</Words>
  <Application>WPS 演示</Application>
  <PresentationFormat>宽屏</PresentationFormat>
  <Paragraphs>350</Paragraphs>
  <Slides>17</Slides>
  <Notes>1</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2</vt:i4>
      </vt:variant>
      <vt:variant>
        <vt:lpstr>幻灯片标题</vt:lpstr>
      </vt:variant>
      <vt:variant>
        <vt:i4>17</vt:i4>
      </vt:variant>
    </vt:vector>
  </HeadingPairs>
  <TitlesOfParts>
    <vt:vector size="28" baseType="lpstr">
      <vt:lpstr>Arial</vt:lpstr>
      <vt:lpstr>宋体</vt:lpstr>
      <vt:lpstr>Wingdings</vt:lpstr>
      <vt:lpstr>微软雅黑</vt:lpstr>
      <vt:lpstr>Arial</vt:lpstr>
      <vt:lpstr>Arial Unicode MS</vt:lpstr>
      <vt:lpstr>等线</vt:lpstr>
      <vt:lpstr>Calibri</vt:lpstr>
      <vt:lpstr>Designed by iSlide</vt:lpstr>
      <vt:lpstr>TCLayout.ActiveDocument.1</vt:lpstr>
      <vt:lpstr>TCLayout.ActiveDocument.1</vt:lpstr>
      <vt:lpstr>PowerPoint 演示文稿</vt:lpstr>
      <vt:lpstr>PowerPoint 演示文稿</vt:lpstr>
      <vt:lpstr>多媒体教学工具的使用</vt:lpstr>
      <vt:lpstr>单击此处添加标题</vt:lpstr>
      <vt:lpstr>单击此处添加标题</vt:lpstr>
      <vt:lpstr>互动元素的应用</vt:lpstr>
      <vt:lpstr>媒体素材的整合</vt:lpstr>
      <vt:lpstr>多媒体教学工具的使用</vt:lpstr>
      <vt:lpstr>教学目标与内容规划</vt:lpstr>
      <vt:lpstr>信息可视化</vt:lpstr>
      <vt:lpstr>设计风格与统一性</vt:lpstr>
      <vt:lpstr>语文教学PPT</vt:lpstr>
      <vt:lpstr>数学教学PPT</vt:lpstr>
      <vt:lpstr>英语教学PPT</vt:lpstr>
      <vt:lpstr>科学教学PPT</vt:lpstr>
      <vt:lpstr>教学方法与策略</vt:lpstr>
      <vt:lpstr>PowerPoint 演示文稿</vt:lpstr>
    </vt:vector>
  </TitlesOfParts>
  <Company>iSlid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Template</dc:title>
  <dc:creator>iSlide</dc:creator>
  <cp:lastModifiedBy>姜曼</cp:lastModifiedBy>
  <cp:revision>95</cp:revision>
  <dcterms:created xsi:type="dcterms:W3CDTF">2023-06-05T05:58:00Z</dcterms:created>
  <dcterms:modified xsi:type="dcterms:W3CDTF">2024-12-06T13:2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3470962BBD54D649C6DC43F3090318C_12</vt:lpwstr>
  </property>
  <property fmtid="{D5CDD505-2E9C-101B-9397-08002B2CF9AE}" pid="3" name="KSOProductBuildVer">
    <vt:lpwstr>2052-12.1.0.18608</vt:lpwstr>
  </property>
</Properties>
</file>